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425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4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31133E1-3D4F-4F9B-A3EC-6D4CFD6401B0}" type="datetimeFigureOut">
              <a:rPr lang="zh-CN" altLang="en-US" smtClean="0"/>
              <a:t>2025/9/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D8834C2-4F3A-4171-A1C5-812E6FFCE2BD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294054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004245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6290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6731036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4842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7834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143637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1640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30469745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grpSp>
        <p:nvGrpSpPr>
          <p:cNvPr id="3" name="Gruppieren 70">
            <a:extLst>
              <a:ext uri="{FF2B5EF4-FFF2-40B4-BE49-F238E27FC236}">
                <a16:creationId xmlns:a16="http://schemas.microsoft.com/office/drawing/2014/main" id="{3D9AFF47-7EB8-95F9-A145-25A2B3B2D551}"/>
              </a:ext>
            </a:extLst>
          </p:cNvPr>
          <p:cNvGrpSpPr>
            <a:grpSpLocks/>
          </p:cNvGrpSpPr>
          <p:nvPr/>
        </p:nvGrpSpPr>
        <p:grpSpPr>
          <a:xfrm>
            <a:off x="3857584" y="1543833"/>
            <a:ext cx="2460678" cy="2334466"/>
            <a:chOff x="5767881" y="1664875"/>
            <a:chExt cx="2460678" cy="2334466"/>
          </a:xfrm>
        </p:grpSpPr>
        <p:sp>
          <p:nvSpPr>
            <p:cNvPr id="4" name="Freihandform: Form 20">
              <a:extLst>
                <a:ext uri="{FF2B5EF4-FFF2-40B4-BE49-F238E27FC236}">
                  <a16:creationId xmlns:a16="http://schemas.microsoft.com/office/drawing/2014/main" id="{BA3A69AF-DAA8-6312-3F7E-59B5AA281D82}"/>
                </a:ext>
              </a:extLst>
            </p:cNvPr>
            <p:cNvSpPr>
              <a:spLocks/>
            </p:cNvSpPr>
            <p:nvPr/>
          </p:nvSpPr>
          <p:spPr>
            <a:xfrm>
              <a:off x="6278138" y="1664875"/>
              <a:ext cx="1442854" cy="1096857"/>
            </a:xfrm>
            <a:custGeom>
              <a:avLst/>
              <a:gdLst>
                <a:gd name="connsiteX0" fmla="*/ 1280606 w 1280443"/>
                <a:gd name="connsiteY0" fmla="*/ 640276 h 971183"/>
                <a:gd name="connsiteX1" fmla="*/ 1258253 w 1280443"/>
                <a:gd name="connsiteY1" fmla="*/ 808253 h 971183"/>
                <a:gd name="connsiteX2" fmla="*/ 1093097 w 1280443"/>
                <a:gd name="connsiteY2" fmla="*/ 786659 h 971183"/>
                <a:gd name="connsiteX3" fmla="*/ 640330 w 1280443"/>
                <a:gd name="connsiteY3" fmla="*/ 974331 h 971183"/>
                <a:gd name="connsiteX4" fmla="*/ 187509 w 1280443"/>
                <a:gd name="connsiteY4" fmla="*/ 786659 h 971183"/>
                <a:gd name="connsiteX5" fmla="*/ 22299 w 1280443"/>
                <a:gd name="connsiteY5" fmla="*/ 808253 h 971183"/>
                <a:gd name="connsiteX6" fmla="*/ 0 w 1280443"/>
                <a:gd name="connsiteY6" fmla="*/ 640276 h 971183"/>
                <a:gd name="connsiteX7" fmla="*/ 640276 w 1280443"/>
                <a:gd name="connsiteY7" fmla="*/ 0 h 971183"/>
                <a:gd name="connsiteX8" fmla="*/ 1280606 w 1280443"/>
                <a:gd name="connsiteY8" fmla="*/ 640276 h 9711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80443" h="971183">
                  <a:moveTo>
                    <a:pt x="1280606" y="640276"/>
                  </a:moveTo>
                  <a:cubicBezTo>
                    <a:pt x="1280606" y="698438"/>
                    <a:pt x="1272848" y="754756"/>
                    <a:pt x="1258253" y="808253"/>
                  </a:cubicBezTo>
                  <a:cubicBezTo>
                    <a:pt x="1205570" y="794146"/>
                    <a:pt x="1150229" y="786659"/>
                    <a:pt x="1093097" y="786659"/>
                  </a:cubicBezTo>
                  <a:cubicBezTo>
                    <a:pt x="916222" y="786659"/>
                    <a:pt x="756112" y="858385"/>
                    <a:pt x="640330" y="974331"/>
                  </a:cubicBezTo>
                  <a:cubicBezTo>
                    <a:pt x="524493" y="858385"/>
                    <a:pt x="364384" y="786659"/>
                    <a:pt x="187509" y="786659"/>
                  </a:cubicBezTo>
                  <a:cubicBezTo>
                    <a:pt x="130377" y="786659"/>
                    <a:pt x="74982" y="794146"/>
                    <a:pt x="22299" y="808253"/>
                  </a:cubicBezTo>
                  <a:cubicBezTo>
                    <a:pt x="7759" y="754756"/>
                    <a:pt x="0" y="698438"/>
                    <a:pt x="0" y="640276"/>
                  </a:cubicBezTo>
                  <a:cubicBezTo>
                    <a:pt x="0" y="286689"/>
                    <a:pt x="286689" y="0"/>
                    <a:pt x="640276" y="0"/>
                  </a:cubicBezTo>
                  <a:cubicBezTo>
                    <a:pt x="993917" y="0"/>
                    <a:pt x="1280606" y="286689"/>
                    <a:pt x="1280606" y="640276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6" name="Freihandform: Form 21">
              <a:extLst>
                <a:ext uri="{FF2B5EF4-FFF2-40B4-BE49-F238E27FC236}">
                  <a16:creationId xmlns:a16="http://schemas.microsoft.com/office/drawing/2014/main" id="{82FE168C-36B7-A08C-832D-2767AC96FCCC}"/>
                </a:ext>
              </a:extLst>
            </p:cNvPr>
            <p:cNvSpPr>
              <a:spLocks/>
            </p:cNvSpPr>
            <p:nvPr/>
          </p:nvSpPr>
          <p:spPr>
            <a:xfrm>
              <a:off x="6813522" y="2765285"/>
              <a:ext cx="366826" cy="343151"/>
            </a:xfrm>
            <a:custGeom>
              <a:avLst/>
              <a:gdLst>
                <a:gd name="connsiteX0" fmla="*/ 330365 w 325536"/>
                <a:gd name="connsiteY0" fmla="*/ 284682 h 303834"/>
                <a:gd name="connsiteX1" fmla="*/ 165155 w 325536"/>
                <a:gd name="connsiteY1" fmla="*/ 306276 h 303834"/>
                <a:gd name="connsiteX2" fmla="*/ 0 w 325536"/>
                <a:gd name="connsiteY2" fmla="*/ 284682 h 303834"/>
                <a:gd name="connsiteX3" fmla="*/ 165210 w 325536"/>
                <a:gd name="connsiteY3" fmla="*/ 0 h 303834"/>
                <a:gd name="connsiteX4" fmla="*/ 330365 w 325536"/>
                <a:gd name="connsiteY4" fmla="*/ 284682 h 303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36" h="303834">
                  <a:moveTo>
                    <a:pt x="330365" y="284682"/>
                  </a:moveTo>
                  <a:cubicBezTo>
                    <a:pt x="277683" y="298788"/>
                    <a:pt x="222287" y="306276"/>
                    <a:pt x="165155" y="306276"/>
                  </a:cubicBezTo>
                  <a:cubicBezTo>
                    <a:pt x="108024" y="306276"/>
                    <a:pt x="52683" y="298788"/>
                    <a:pt x="0" y="284682"/>
                  </a:cubicBezTo>
                  <a:cubicBezTo>
                    <a:pt x="29570" y="175410"/>
                    <a:pt x="87406" y="77749"/>
                    <a:pt x="165210" y="0"/>
                  </a:cubicBezTo>
                  <a:cubicBezTo>
                    <a:pt x="242959" y="77749"/>
                    <a:pt x="300796" y="175410"/>
                    <a:pt x="330365" y="284682"/>
                  </a:cubicBezTo>
                  <a:close/>
                </a:path>
              </a:pathLst>
            </a:custGeom>
            <a:solidFill>
              <a:srgbClr val="000000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7" name="Freihandform: Form 22">
              <a:extLst>
                <a:ext uri="{FF2B5EF4-FFF2-40B4-BE49-F238E27FC236}">
                  <a16:creationId xmlns:a16="http://schemas.microsoft.com/office/drawing/2014/main" id="{BA217557-B4F2-509B-C60D-B46AE4D36DCD}"/>
                </a:ext>
              </a:extLst>
            </p:cNvPr>
            <p:cNvSpPr>
              <a:spLocks/>
            </p:cNvSpPr>
            <p:nvPr/>
          </p:nvSpPr>
          <p:spPr>
            <a:xfrm>
              <a:off x="6999687" y="2553330"/>
              <a:ext cx="690859" cy="533109"/>
            </a:xfrm>
            <a:custGeom>
              <a:avLst/>
              <a:gdLst>
                <a:gd name="connsiteX0" fmla="*/ 617922 w 613093"/>
                <a:gd name="connsiteY0" fmla="*/ 21594 h 472027"/>
                <a:gd name="connsiteX1" fmla="*/ 165155 w 613093"/>
                <a:gd name="connsiteY1" fmla="*/ 472353 h 472027"/>
                <a:gd name="connsiteX2" fmla="*/ 0 w 613093"/>
                <a:gd name="connsiteY2" fmla="*/ 187672 h 472027"/>
                <a:gd name="connsiteX3" fmla="*/ 452767 w 613093"/>
                <a:gd name="connsiteY3" fmla="*/ 0 h 472027"/>
                <a:gd name="connsiteX4" fmla="*/ 617922 w 613093"/>
                <a:gd name="connsiteY4" fmla="*/ 21594 h 472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3093" h="472027">
                  <a:moveTo>
                    <a:pt x="617922" y="21594"/>
                  </a:moveTo>
                  <a:cubicBezTo>
                    <a:pt x="558458" y="241168"/>
                    <a:pt x="385109" y="413865"/>
                    <a:pt x="165155" y="472353"/>
                  </a:cubicBezTo>
                  <a:cubicBezTo>
                    <a:pt x="135586" y="363082"/>
                    <a:pt x="77749" y="265421"/>
                    <a:pt x="0" y="187672"/>
                  </a:cubicBezTo>
                  <a:cubicBezTo>
                    <a:pt x="115782" y="71727"/>
                    <a:pt x="275892" y="0"/>
                    <a:pt x="452767" y="0"/>
                  </a:cubicBezTo>
                  <a:cubicBezTo>
                    <a:pt x="509898" y="0"/>
                    <a:pt x="565240" y="7487"/>
                    <a:pt x="617922" y="21594"/>
                  </a:cubicBezTo>
                  <a:close/>
                </a:path>
              </a:pathLst>
            </a:custGeom>
            <a:solidFill>
              <a:schemeClr val="accent1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9" name="Freihandform: Form 23">
              <a:extLst>
                <a:ext uri="{FF2B5EF4-FFF2-40B4-BE49-F238E27FC236}">
                  <a16:creationId xmlns:a16="http://schemas.microsoft.com/office/drawing/2014/main" id="{6825A75B-B1ED-0C3F-2233-327FC6DEE781}"/>
                </a:ext>
              </a:extLst>
            </p:cNvPr>
            <p:cNvSpPr>
              <a:spLocks/>
            </p:cNvSpPr>
            <p:nvPr/>
          </p:nvSpPr>
          <p:spPr>
            <a:xfrm>
              <a:off x="6999687" y="2577716"/>
              <a:ext cx="1228872" cy="1421625"/>
            </a:xfrm>
            <a:custGeom>
              <a:avLst/>
              <a:gdLst>
                <a:gd name="connsiteX0" fmla="*/ 1093043 w 1090546"/>
                <a:gd name="connsiteY0" fmla="*/ 618682 h 1258740"/>
                <a:gd name="connsiteX1" fmla="*/ 452767 w 1090546"/>
                <a:gd name="connsiteY1" fmla="*/ 1259012 h 1258740"/>
                <a:gd name="connsiteX2" fmla="*/ 0 w 1090546"/>
                <a:gd name="connsiteY2" fmla="*/ 1071340 h 1258740"/>
                <a:gd name="connsiteX3" fmla="*/ 187455 w 1090546"/>
                <a:gd name="connsiteY3" fmla="*/ 618682 h 1258740"/>
                <a:gd name="connsiteX4" fmla="*/ 165155 w 1090546"/>
                <a:gd name="connsiteY4" fmla="*/ 450759 h 1258740"/>
                <a:gd name="connsiteX5" fmla="*/ 617922 w 1090546"/>
                <a:gd name="connsiteY5" fmla="*/ 0 h 1258740"/>
                <a:gd name="connsiteX6" fmla="*/ 1093043 w 1090546"/>
                <a:gd name="connsiteY6" fmla="*/ 618682 h 1258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90546" h="1258740">
                  <a:moveTo>
                    <a:pt x="1093043" y="618682"/>
                  </a:moveTo>
                  <a:cubicBezTo>
                    <a:pt x="1093043" y="972323"/>
                    <a:pt x="806408" y="1259012"/>
                    <a:pt x="452767" y="1259012"/>
                  </a:cubicBezTo>
                  <a:cubicBezTo>
                    <a:pt x="275892" y="1259012"/>
                    <a:pt x="115782" y="1187286"/>
                    <a:pt x="0" y="1071340"/>
                  </a:cubicBezTo>
                  <a:cubicBezTo>
                    <a:pt x="115837" y="955504"/>
                    <a:pt x="187455" y="795448"/>
                    <a:pt x="187455" y="618682"/>
                  </a:cubicBezTo>
                  <a:cubicBezTo>
                    <a:pt x="187455" y="560574"/>
                    <a:pt x="179696" y="504256"/>
                    <a:pt x="165155" y="450759"/>
                  </a:cubicBezTo>
                  <a:cubicBezTo>
                    <a:pt x="385109" y="392271"/>
                    <a:pt x="558458" y="219574"/>
                    <a:pt x="617922" y="0"/>
                  </a:cubicBezTo>
                  <a:cubicBezTo>
                    <a:pt x="891536" y="72757"/>
                    <a:pt x="1093043" y="322227"/>
                    <a:pt x="1093043" y="618682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11" name="Freihandform: Form 24">
              <a:extLst>
                <a:ext uri="{FF2B5EF4-FFF2-40B4-BE49-F238E27FC236}">
                  <a16:creationId xmlns:a16="http://schemas.microsoft.com/office/drawing/2014/main" id="{A2666A97-64B3-1C92-537C-828A94BFF537}"/>
                </a:ext>
              </a:extLst>
            </p:cNvPr>
            <p:cNvSpPr>
              <a:spLocks/>
            </p:cNvSpPr>
            <p:nvPr/>
          </p:nvSpPr>
          <p:spPr>
            <a:xfrm>
              <a:off x="6813522" y="2765285"/>
              <a:ext cx="366826" cy="343151"/>
            </a:xfrm>
            <a:custGeom>
              <a:avLst/>
              <a:gdLst>
                <a:gd name="connsiteX0" fmla="*/ 330365 w 325536"/>
                <a:gd name="connsiteY0" fmla="*/ 284682 h 303834"/>
                <a:gd name="connsiteX1" fmla="*/ 165155 w 325536"/>
                <a:gd name="connsiteY1" fmla="*/ 306276 h 303834"/>
                <a:gd name="connsiteX2" fmla="*/ 0 w 325536"/>
                <a:gd name="connsiteY2" fmla="*/ 284682 h 303834"/>
                <a:gd name="connsiteX3" fmla="*/ 165210 w 325536"/>
                <a:gd name="connsiteY3" fmla="*/ 0 h 303834"/>
                <a:gd name="connsiteX4" fmla="*/ 330365 w 325536"/>
                <a:gd name="connsiteY4" fmla="*/ 284682 h 303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36" h="303834">
                  <a:moveTo>
                    <a:pt x="330365" y="284682"/>
                  </a:moveTo>
                  <a:cubicBezTo>
                    <a:pt x="277683" y="298788"/>
                    <a:pt x="222287" y="306276"/>
                    <a:pt x="165155" y="306276"/>
                  </a:cubicBezTo>
                  <a:cubicBezTo>
                    <a:pt x="108024" y="306276"/>
                    <a:pt x="52683" y="298788"/>
                    <a:pt x="0" y="284682"/>
                  </a:cubicBezTo>
                  <a:cubicBezTo>
                    <a:pt x="29570" y="175410"/>
                    <a:pt x="87406" y="77749"/>
                    <a:pt x="165210" y="0"/>
                  </a:cubicBezTo>
                  <a:cubicBezTo>
                    <a:pt x="242959" y="77749"/>
                    <a:pt x="300796" y="175410"/>
                    <a:pt x="330365" y="284682"/>
                  </a:cubicBezTo>
                  <a:close/>
                </a:path>
              </a:pathLst>
            </a:custGeom>
            <a:solidFill>
              <a:srgbClr val="000000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12" name="Freihandform: Form 25">
              <a:extLst>
                <a:ext uri="{FF2B5EF4-FFF2-40B4-BE49-F238E27FC236}">
                  <a16:creationId xmlns:a16="http://schemas.microsoft.com/office/drawing/2014/main" id="{E0557D6A-8A27-6B69-6CCD-F50DE9DD1216}"/>
                </a:ext>
              </a:extLst>
            </p:cNvPr>
            <p:cNvSpPr>
              <a:spLocks/>
            </p:cNvSpPr>
            <p:nvPr/>
          </p:nvSpPr>
          <p:spPr>
            <a:xfrm>
              <a:off x="6788395" y="3086806"/>
              <a:ext cx="421852" cy="698557"/>
            </a:xfrm>
            <a:custGeom>
              <a:avLst/>
              <a:gdLst>
                <a:gd name="connsiteX0" fmla="*/ 374964 w 374366"/>
                <a:gd name="connsiteY0" fmla="*/ 167923 h 618519"/>
                <a:gd name="connsiteX1" fmla="*/ 187509 w 374366"/>
                <a:gd name="connsiteY1" fmla="*/ 620581 h 618519"/>
                <a:gd name="connsiteX2" fmla="*/ 0 w 374366"/>
                <a:gd name="connsiteY2" fmla="*/ 167923 h 618519"/>
                <a:gd name="connsiteX3" fmla="*/ 22299 w 374366"/>
                <a:gd name="connsiteY3" fmla="*/ 0 h 618519"/>
                <a:gd name="connsiteX4" fmla="*/ 187455 w 374366"/>
                <a:gd name="connsiteY4" fmla="*/ 21594 h 618519"/>
                <a:gd name="connsiteX5" fmla="*/ 352664 w 374366"/>
                <a:gd name="connsiteY5" fmla="*/ 0 h 618519"/>
                <a:gd name="connsiteX6" fmla="*/ 374964 w 374366"/>
                <a:gd name="connsiteY6" fmla="*/ 167923 h 618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74366" h="618519">
                  <a:moveTo>
                    <a:pt x="374964" y="167923"/>
                  </a:moveTo>
                  <a:cubicBezTo>
                    <a:pt x="374964" y="344689"/>
                    <a:pt x="303346" y="504744"/>
                    <a:pt x="187509" y="620581"/>
                  </a:cubicBezTo>
                  <a:cubicBezTo>
                    <a:pt x="71618" y="504744"/>
                    <a:pt x="0" y="344689"/>
                    <a:pt x="0" y="167923"/>
                  </a:cubicBezTo>
                  <a:cubicBezTo>
                    <a:pt x="0" y="109814"/>
                    <a:pt x="7759" y="53497"/>
                    <a:pt x="22299" y="0"/>
                  </a:cubicBezTo>
                  <a:cubicBezTo>
                    <a:pt x="74982" y="14107"/>
                    <a:pt x="130323" y="21594"/>
                    <a:pt x="187455" y="21594"/>
                  </a:cubicBezTo>
                  <a:cubicBezTo>
                    <a:pt x="244586" y="21594"/>
                    <a:pt x="299982" y="14107"/>
                    <a:pt x="352664" y="0"/>
                  </a:cubicBezTo>
                  <a:cubicBezTo>
                    <a:pt x="367205" y="53497"/>
                    <a:pt x="374964" y="109814"/>
                    <a:pt x="374964" y="167923"/>
                  </a:cubicBezTo>
                  <a:close/>
                </a:path>
              </a:pathLst>
            </a:custGeom>
            <a:solidFill>
              <a:schemeClr val="accent1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13" name="Freihandform: Form 26">
              <a:extLst>
                <a:ext uri="{FF2B5EF4-FFF2-40B4-BE49-F238E27FC236}">
                  <a16:creationId xmlns:a16="http://schemas.microsoft.com/office/drawing/2014/main" id="{FAFE10D8-05B1-61C5-FED5-860F25CE1A40}"/>
                </a:ext>
              </a:extLst>
            </p:cNvPr>
            <p:cNvSpPr>
              <a:spLocks/>
            </p:cNvSpPr>
            <p:nvPr/>
          </p:nvSpPr>
          <p:spPr>
            <a:xfrm>
              <a:off x="5767881" y="2577716"/>
              <a:ext cx="1228872" cy="1421625"/>
            </a:xfrm>
            <a:custGeom>
              <a:avLst/>
              <a:gdLst>
                <a:gd name="connsiteX0" fmla="*/ 1093151 w 1090546"/>
                <a:gd name="connsiteY0" fmla="*/ 1071340 h 1258740"/>
                <a:gd name="connsiteX1" fmla="*/ 640330 w 1090546"/>
                <a:gd name="connsiteY1" fmla="*/ 1259012 h 1258740"/>
                <a:gd name="connsiteX2" fmla="*/ 0 w 1090546"/>
                <a:gd name="connsiteY2" fmla="*/ 618682 h 1258740"/>
                <a:gd name="connsiteX3" fmla="*/ 475120 w 1090546"/>
                <a:gd name="connsiteY3" fmla="*/ 0 h 1258740"/>
                <a:gd name="connsiteX4" fmla="*/ 927941 w 1090546"/>
                <a:gd name="connsiteY4" fmla="*/ 450759 h 1258740"/>
                <a:gd name="connsiteX5" fmla="*/ 905642 w 1090546"/>
                <a:gd name="connsiteY5" fmla="*/ 618682 h 1258740"/>
                <a:gd name="connsiteX6" fmla="*/ 1093151 w 1090546"/>
                <a:gd name="connsiteY6" fmla="*/ 1071340 h 1258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90546" h="1258740">
                  <a:moveTo>
                    <a:pt x="1093151" y="1071340"/>
                  </a:moveTo>
                  <a:cubicBezTo>
                    <a:pt x="977314" y="1187286"/>
                    <a:pt x="817205" y="1259012"/>
                    <a:pt x="640330" y="1259012"/>
                  </a:cubicBezTo>
                  <a:cubicBezTo>
                    <a:pt x="286689" y="1259012"/>
                    <a:pt x="0" y="972323"/>
                    <a:pt x="0" y="618682"/>
                  </a:cubicBezTo>
                  <a:cubicBezTo>
                    <a:pt x="0" y="322227"/>
                    <a:pt x="201561" y="72757"/>
                    <a:pt x="475120" y="0"/>
                  </a:cubicBezTo>
                  <a:cubicBezTo>
                    <a:pt x="534639" y="219574"/>
                    <a:pt x="707987" y="392271"/>
                    <a:pt x="927941" y="450759"/>
                  </a:cubicBezTo>
                  <a:cubicBezTo>
                    <a:pt x="913401" y="504256"/>
                    <a:pt x="905642" y="560574"/>
                    <a:pt x="905642" y="618682"/>
                  </a:cubicBezTo>
                  <a:cubicBezTo>
                    <a:pt x="905642" y="795448"/>
                    <a:pt x="977260" y="955504"/>
                    <a:pt x="1093151" y="1071340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14" name="Freihandform: Form 27">
              <a:extLst>
                <a:ext uri="{FF2B5EF4-FFF2-40B4-BE49-F238E27FC236}">
                  <a16:creationId xmlns:a16="http://schemas.microsoft.com/office/drawing/2014/main" id="{C9A093A5-0816-C4EA-D30F-D035B14ACD6D}"/>
                </a:ext>
              </a:extLst>
            </p:cNvPr>
            <p:cNvSpPr>
              <a:spLocks/>
            </p:cNvSpPr>
            <p:nvPr/>
          </p:nvSpPr>
          <p:spPr>
            <a:xfrm>
              <a:off x="6303265" y="2553330"/>
              <a:ext cx="690859" cy="533109"/>
            </a:xfrm>
            <a:custGeom>
              <a:avLst/>
              <a:gdLst>
                <a:gd name="connsiteX0" fmla="*/ 618031 w 613093"/>
                <a:gd name="connsiteY0" fmla="*/ 187672 h 472027"/>
                <a:gd name="connsiteX1" fmla="*/ 452821 w 613093"/>
                <a:gd name="connsiteY1" fmla="*/ 472353 h 472027"/>
                <a:gd name="connsiteX2" fmla="*/ 0 w 613093"/>
                <a:gd name="connsiteY2" fmla="*/ 21594 h 472027"/>
                <a:gd name="connsiteX3" fmla="*/ 165210 w 613093"/>
                <a:gd name="connsiteY3" fmla="*/ 0 h 472027"/>
                <a:gd name="connsiteX4" fmla="*/ 618031 w 613093"/>
                <a:gd name="connsiteY4" fmla="*/ 187672 h 472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3093" h="472027">
                  <a:moveTo>
                    <a:pt x="618031" y="187672"/>
                  </a:moveTo>
                  <a:cubicBezTo>
                    <a:pt x="540228" y="265421"/>
                    <a:pt x="482391" y="363082"/>
                    <a:pt x="452821" y="472353"/>
                  </a:cubicBezTo>
                  <a:cubicBezTo>
                    <a:pt x="232867" y="413865"/>
                    <a:pt x="59519" y="241168"/>
                    <a:pt x="0" y="21594"/>
                  </a:cubicBezTo>
                  <a:cubicBezTo>
                    <a:pt x="52683" y="7487"/>
                    <a:pt x="108078" y="0"/>
                    <a:pt x="165210" y="0"/>
                  </a:cubicBezTo>
                  <a:cubicBezTo>
                    <a:pt x="342085" y="0"/>
                    <a:pt x="502194" y="71727"/>
                    <a:pt x="618031" y="187672"/>
                  </a:cubicBezTo>
                  <a:close/>
                </a:path>
              </a:pathLst>
            </a:custGeom>
            <a:solidFill>
              <a:schemeClr val="accent1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15" name="Freihandform: Form 28">
              <a:extLst>
                <a:ext uri="{FF2B5EF4-FFF2-40B4-BE49-F238E27FC236}">
                  <a16:creationId xmlns:a16="http://schemas.microsoft.com/office/drawing/2014/main" id="{F2B2F6AC-B140-48FC-4B91-4AAC62BB4D97}"/>
                </a:ext>
              </a:extLst>
            </p:cNvPr>
            <p:cNvSpPr>
              <a:spLocks/>
            </p:cNvSpPr>
            <p:nvPr/>
          </p:nvSpPr>
          <p:spPr>
            <a:xfrm>
              <a:off x="6813522" y="2765285"/>
              <a:ext cx="366826" cy="343151"/>
            </a:xfrm>
            <a:custGeom>
              <a:avLst/>
              <a:gdLst>
                <a:gd name="connsiteX0" fmla="*/ 330365 w 325536"/>
                <a:gd name="connsiteY0" fmla="*/ 284682 h 303834"/>
                <a:gd name="connsiteX1" fmla="*/ 165155 w 325536"/>
                <a:gd name="connsiteY1" fmla="*/ 306276 h 303834"/>
                <a:gd name="connsiteX2" fmla="*/ 0 w 325536"/>
                <a:gd name="connsiteY2" fmla="*/ 284682 h 303834"/>
                <a:gd name="connsiteX3" fmla="*/ 165210 w 325536"/>
                <a:gd name="connsiteY3" fmla="*/ 0 h 303834"/>
                <a:gd name="connsiteX4" fmla="*/ 330365 w 325536"/>
                <a:gd name="connsiteY4" fmla="*/ 284682 h 303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536" h="303834">
                  <a:moveTo>
                    <a:pt x="330365" y="284682"/>
                  </a:moveTo>
                  <a:cubicBezTo>
                    <a:pt x="277683" y="298788"/>
                    <a:pt x="222287" y="306276"/>
                    <a:pt x="165155" y="306276"/>
                  </a:cubicBezTo>
                  <a:cubicBezTo>
                    <a:pt x="108024" y="306276"/>
                    <a:pt x="52683" y="298788"/>
                    <a:pt x="0" y="284682"/>
                  </a:cubicBezTo>
                  <a:cubicBezTo>
                    <a:pt x="29570" y="175410"/>
                    <a:pt x="87406" y="77749"/>
                    <a:pt x="165210" y="0"/>
                  </a:cubicBezTo>
                  <a:cubicBezTo>
                    <a:pt x="242959" y="77749"/>
                    <a:pt x="300796" y="175410"/>
                    <a:pt x="330365" y="284682"/>
                  </a:cubicBezTo>
                  <a:close/>
                </a:path>
              </a:pathLst>
            </a:custGeom>
            <a:solidFill>
              <a:schemeClr val="accent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16" name="Textfeld 29">
              <a:extLst>
                <a:ext uri="{FF2B5EF4-FFF2-40B4-BE49-F238E27FC236}">
                  <a16:creationId xmlns:a16="http://schemas.microsoft.com/office/drawing/2014/main" id="{9F6B3071-0DA8-CBBF-682D-C8E5D47FCD2B}"/>
                </a:ext>
              </a:extLst>
            </p:cNvPr>
            <p:cNvSpPr txBox="1">
              <a:spLocks/>
            </p:cNvSpPr>
            <p:nvPr/>
          </p:nvSpPr>
          <p:spPr>
            <a:xfrm>
              <a:off x="6570354" y="2104070"/>
              <a:ext cx="852799" cy="191143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none" lIns="0" tIns="0" rIns="0" bIns="0" rtlCol="0" anchor="ctr">
              <a:spAutoFit/>
            </a:bodyPr>
            <a:lstStyle/>
            <a:p>
              <a:pPr lvl="0" algn="ctr">
                <a:lnSpc>
                  <a:spcPct val="95000"/>
                </a:lnSpc>
                <a:spcBef>
                  <a:spcPts val="400"/>
                </a:spcBef>
                <a:buClr>
                  <a:srgbClr val="1A7449"/>
                </a:buClr>
                <a:buSzPct val="80000"/>
                <a:defRPr/>
              </a:pPr>
              <a:r>
                <a:rPr lang="en-US" altLang="zh-CN" sz="1300" dirty="0">
                  <a:solidFill>
                    <a:srgbClr val="575757"/>
                  </a:solidFill>
                  <a:ea typeface="Verdana" pitchFamily="34" charset="0"/>
                  <a:cs typeface="Verdana" pitchFamily="34" charset="0"/>
                </a:rPr>
                <a:t>{bulklet_5}</a:t>
              </a:r>
            </a:p>
          </p:txBody>
        </p:sp>
        <p:sp>
          <p:nvSpPr>
            <p:cNvPr id="17" name="Textfeld 30">
              <a:extLst>
                <a:ext uri="{FF2B5EF4-FFF2-40B4-BE49-F238E27FC236}">
                  <a16:creationId xmlns:a16="http://schemas.microsoft.com/office/drawing/2014/main" id="{A878556A-9A0C-8806-223B-435DD8D3BCBF}"/>
                </a:ext>
              </a:extLst>
            </p:cNvPr>
            <p:cNvSpPr txBox="1">
              <a:spLocks/>
            </p:cNvSpPr>
            <p:nvPr/>
          </p:nvSpPr>
          <p:spPr>
            <a:xfrm>
              <a:off x="7269585" y="3289643"/>
              <a:ext cx="838371" cy="191143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none" lIns="0" tIns="0" rIns="0" bIns="0" rtlCol="0" anchor="ctr">
              <a:spAutoFit/>
            </a:bodyPr>
            <a:lstStyle/>
            <a:p>
              <a:pPr lvl="0" algn="ctr">
                <a:lnSpc>
                  <a:spcPct val="95000"/>
                </a:lnSpc>
                <a:spcBef>
                  <a:spcPts val="400"/>
                </a:spcBef>
                <a:buClr>
                  <a:srgbClr val="1A7449"/>
                </a:buClr>
                <a:buSzPct val="80000"/>
                <a:defRPr/>
              </a:pPr>
              <a:r>
                <a:rPr lang="en-US" altLang="zh-CN" sz="1300" dirty="0">
                  <a:solidFill>
                    <a:srgbClr val="575757"/>
                  </a:solidFill>
                  <a:ea typeface="Verdana" pitchFamily="34" charset="0"/>
                  <a:cs typeface="Verdana" pitchFamily="34" charset="0"/>
                </a:rPr>
                <a:t>{bulklet_7}</a:t>
              </a:r>
            </a:p>
          </p:txBody>
        </p:sp>
        <p:sp>
          <p:nvSpPr>
            <p:cNvPr id="18" name="Textfeld 31">
              <a:extLst>
                <a:ext uri="{FF2B5EF4-FFF2-40B4-BE49-F238E27FC236}">
                  <a16:creationId xmlns:a16="http://schemas.microsoft.com/office/drawing/2014/main" id="{7C1A1586-C765-F1C5-8DBC-B7EAD5435DBE}"/>
                </a:ext>
              </a:extLst>
            </p:cNvPr>
            <p:cNvSpPr txBox="1">
              <a:spLocks/>
            </p:cNvSpPr>
            <p:nvPr/>
          </p:nvSpPr>
          <p:spPr>
            <a:xfrm>
              <a:off x="5867725" y="3289643"/>
              <a:ext cx="851195" cy="191143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none" lIns="0" tIns="0" rIns="0" bIns="0" rtlCol="0" anchor="ctr">
              <a:spAutoFit/>
            </a:bodyPr>
            <a:lstStyle/>
            <a:p>
              <a:pPr lvl="0" algn="ctr">
                <a:lnSpc>
                  <a:spcPct val="95000"/>
                </a:lnSpc>
                <a:spcBef>
                  <a:spcPts val="400"/>
                </a:spcBef>
                <a:buClr>
                  <a:srgbClr val="1A7449"/>
                </a:buClr>
                <a:buSzPct val="80000"/>
                <a:defRPr/>
              </a:pPr>
              <a:r>
                <a:rPr lang="en-US" altLang="zh-CN" sz="1300" dirty="0">
                  <a:solidFill>
                    <a:srgbClr val="575757"/>
                  </a:solidFill>
                  <a:ea typeface="Verdana" pitchFamily="34" charset="0"/>
                  <a:cs typeface="Verdana" pitchFamily="34" charset="0"/>
                </a:rPr>
                <a:t>{bulklet_6}</a:t>
              </a:r>
            </a:p>
          </p:txBody>
        </p:sp>
      </p:grpSp>
      <p:grpSp>
        <p:nvGrpSpPr>
          <p:cNvPr id="19" name="Gruppieren 71">
            <a:extLst>
              <a:ext uri="{FF2B5EF4-FFF2-40B4-BE49-F238E27FC236}">
                <a16:creationId xmlns:a16="http://schemas.microsoft.com/office/drawing/2014/main" id="{D575312A-DFC4-BA04-C7DD-A8167C908B81}"/>
              </a:ext>
            </a:extLst>
          </p:cNvPr>
          <p:cNvGrpSpPr>
            <a:grpSpLocks/>
          </p:cNvGrpSpPr>
          <p:nvPr/>
        </p:nvGrpSpPr>
        <p:grpSpPr>
          <a:xfrm>
            <a:off x="2117303" y="3617211"/>
            <a:ext cx="2460678" cy="2334466"/>
            <a:chOff x="3072452" y="3359490"/>
            <a:chExt cx="2460678" cy="2334466"/>
          </a:xfrm>
        </p:grpSpPr>
        <p:sp>
          <p:nvSpPr>
            <p:cNvPr id="20" name="Freihandform: Form 5">
              <a:extLst>
                <a:ext uri="{FF2B5EF4-FFF2-40B4-BE49-F238E27FC236}">
                  <a16:creationId xmlns:a16="http://schemas.microsoft.com/office/drawing/2014/main" id="{639D18BC-A607-FBFD-D870-1D195497A960}"/>
                </a:ext>
              </a:extLst>
            </p:cNvPr>
            <p:cNvSpPr>
              <a:spLocks/>
            </p:cNvSpPr>
            <p:nvPr/>
          </p:nvSpPr>
          <p:spPr>
            <a:xfrm>
              <a:off x="3533762" y="3359490"/>
              <a:ext cx="1537698" cy="952769"/>
            </a:xfrm>
            <a:custGeom>
              <a:avLst/>
              <a:gdLst>
                <a:gd name="connsiteX0" fmla="*/ 1384181 w 1383529"/>
                <a:gd name="connsiteY0" fmla="*/ 692090 h 857245"/>
                <a:gd name="connsiteX1" fmla="*/ 1379080 w 1383529"/>
                <a:gd name="connsiteY1" fmla="*/ 776567 h 857245"/>
                <a:gd name="connsiteX2" fmla="*/ 1107149 w 1383529"/>
                <a:gd name="connsiteY2" fmla="*/ 721063 h 857245"/>
                <a:gd name="connsiteX3" fmla="*/ 692090 w 1383529"/>
                <a:gd name="connsiteY3" fmla="*/ 859308 h 857245"/>
                <a:gd name="connsiteX4" fmla="*/ 277031 w 1383529"/>
                <a:gd name="connsiteY4" fmla="*/ 721063 h 857245"/>
                <a:gd name="connsiteX5" fmla="*/ 5100 w 1383529"/>
                <a:gd name="connsiteY5" fmla="*/ 776567 h 857245"/>
                <a:gd name="connsiteX6" fmla="*/ 0 w 1383529"/>
                <a:gd name="connsiteY6" fmla="*/ 692090 h 857245"/>
                <a:gd name="connsiteX7" fmla="*/ 692090 w 1383529"/>
                <a:gd name="connsiteY7" fmla="*/ 0 h 857245"/>
                <a:gd name="connsiteX8" fmla="*/ 1384181 w 1383529"/>
                <a:gd name="connsiteY8" fmla="*/ 692090 h 857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83529" h="857245">
                  <a:moveTo>
                    <a:pt x="1384181" y="692090"/>
                  </a:moveTo>
                  <a:cubicBezTo>
                    <a:pt x="1384181" y="720683"/>
                    <a:pt x="1382444" y="748897"/>
                    <a:pt x="1379080" y="776567"/>
                  </a:cubicBezTo>
                  <a:cubicBezTo>
                    <a:pt x="1295580" y="740812"/>
                    <a:pt x="1203671" y="721063"/>
                    <a:pt x="1107149" y="721063"/>
                  </a:cubicBezTo>
                  <a:cubicBezTo>
                    <a:pt x="951434" y="721063"/>
                    <a:pt x="807710" y="772498"/>
                    <a:pt x="692090" y="859308"/>
                  </a:cubicBezTo>
                  <a:cubicBezTo>
                    <a:pt x="576471" y="772498"/>
                    <a:pt x="432746" y="721063"/>
                    <a:pt x="277031" y="721063"/>
                  </a:cubicBezTo>
                  <a:cubicBezTo>
                    <a:pt x="180509" y="721063"/>
                    <a:pt x="88600" y="740812"/>
                    <a:pt x="5100" y="776567"/>
                  </a:cubicBezTo>
                  <a:cubicBezTo>
                    <a:pt x="1736" y="748897"/>
                    <a:pt x="0" y="720683"/>
                    <a:pt x="0" y="692090"/>
                  </a:cubicBezTo>
                  <a:cubicBezTo>
                    <a:pt x="0" y="309856"/>
                    <a:pt x="309856" y="0"/>
                    <a:pt x="692090" y="0"/>
                  </a:cubicBezTo>
                  <a:cubicBezTo>
                    <a:pt x="1074324" y="0"/>
                    <a:pt x="1384181" y="309856"/>
                    <a:pt x="1384181" y="692090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1" name="Freihandform: Form 6">
              <a:extLst>
                <a:ext uri="{FF2B5EF4-FFF2-40B4-BE49-F238E27FC236}">
                  <a16:creationId xmlns:a16="http://schemas.microsoft.com/office/drawing/2014/main" id="{34C3F23E-320F-6868-44EC-73494F680DC2}"/>
                </a:ext>
              </a:extLst>
            </p:cNvPr>
            <p:cNvSpPr>
              <a:spLocks/>
            </p:cNvSpPr>
            <p:nvPr/>
          </p:nvSpPr>
          <p:spPr>
            <a:xfrm>
              <a:off x="4302971" y="4222591"/>
              <a:ext cx="1230159" cy="1471365"/>
            </a:xfrm>
            <a:custGeom>
              <a:avLst/>
              <a:gdLst>
                <a:gd name="connsiteX0" fmla="*/ 1107150 w 1106823"/>
                <a:gd name="connsiteY0" fmla="*/ 636586 h 1323848"/>
                <a:gd name="connsiteX1" fmla="*/ 415059 w 1106823"/>
                <a:gd name="connsiteY1" fmla="*/ 1328677 h 1323848"/>
                <a:gd name="connsiteX2" fmla="*/ 0 w 1106823"/>
                <a:gd name="connsiteY2" fmla="*/ 1190433 h 1323848"/>
                <a:gd name="connsiteX3" fmla="*/ 277032 w 1106823"/>
                <a:gd name="connsiteY3" fmla="*/ 636586 h 1323848"/>
                <a:gd name="connsiteX4" fmla="*/ 271931 w 1106823"/>
                <a:gd name="connsiteY4" fmla="*/ 552110 h 1323848"/>
                <a:gd name="connsiteX5" fmla="*/ 686990 w 1106823"/>
                <a:gd name="connsiteY5" fmla="*/ 0 h 1323848"/>
                <a:gd name="connsiteX6" fmla="*/ 1107150 w 1106823"/>
                <a:gd name="connsiteY6" fmla="*/ 636586 h 132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06823" h="1323848">
                  <a:moveTo>
                    <a:pt x="1107150" y="636586"/>
                  </a:moveTo>
                  <a:cubicBezTo>
                    <a:pt x="1107150" y="1018821"/>
                    <a:pt x="797293" y="1328677"/>
                    <a:pt x="415059" y="1328677"/>
                  </a:cubicBezTo>
                  <a:cubicBezTo>
                    <a:pt x="259344" y="1328677"/>
                    <a:pt x="115620" y="1277242"/>
                    <a:pt x="0" y="1190433"/>
                  </a:cubicBezTo>
                  <a:cubicBezTo>
                    <a:pt x="168194" y="1064179"/>
                    <a:pt x="277032" y="863106"/>
                    <a:pt x="277032" y="636586"/>
                  </a:cubicBezTo>
                  <a:cubicBezTo>
                    <a:pt x="277032" y="607994"/>
                    <a:pt x="275295" y="579780"/>
                    <a:pt x="271931" y="552110"/>
                  </a:cubicBezTo>
                  <a:cubicBezTo>
                    <a:pt x="494273" y="457053"/>
                    <a:pt x="656716" y="248927"/>
                    <a:pt x="686990" y="0"/>
                  </a:cubicBezTo>
                  <a:cubicBezTo>
                    <a:pt x="934073" y="105637"/>
                    <a:pt x="1107150" y="350874"/>
                    <a:pt x="1107150" y="636586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2" name="Freihandform: Form 7">
              <a:extLst>
                <a:ext uri="{FF2B5EF4-FFF2-40B4-BE49-F238E27FC236}">
                  <a16:creationId xmlns:a16="http://schemas.microsoft.com/office/drawing/2014/main" id="{9D3AB2FE-802E-A4C5-00B8-76B83A85151F}"/>
                </a:ext>
              </a:extLst>
            </p:cNvPr>
            <p:cNvSpPr>
              <a:spLocks/>
            </p:cNvSpPr>
            <p:nvPr/>
          </p:nvSpPr>
          <p:spPr>
            <a:xfrm>
              <a:off x="4302971" y="4160902"/>
              <a:ext cx="759803" cy="669351"/>
            </a:xfrm>
            <a:custGeom>
              <a:avLst/>
              <a:gdLst>
                <a:gd name="connsiteX0" fmla="*/ 686990 w 683626"/>
                <a:gd name="connsiteY0" fmla="*/ 55504 h 602242"/>
                <a:gd name="connsiteX1" fmla="*/ 271931 w 683626"/>
                <a:gd name="connsiteY1" fmla="*/ 607614 h 602242"/>
                <a:gd name="connsiteX2" fmla="*/ 0 w 683626"/>
                <a:gd name="connsiteY2" fmla="*/ 138245 h 602242"/>
                <a:gd name="connsiteX3" fmla="*/ 415059 w 683626"/>
                <a:gd name="connsiteY3" fmla="*/ 0 h 602242"/>
                <a:gd name="connsiteX4" fmla="*/ 686990 w 683626"/>
                <a:gd name="connsiteY4" fmla="*/ 55504 h 6022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83626" h="602242">
                  <a:moveTo>
                    <a:pt x="686990" y="55504"/>
                  </a:moveTo>
                  <a:cubicBezTo>
                    <a:pt x="656716" y="304431"/>
                    <a:pt x="494273" y="512557"/>
                    <a:pt x="271931" y="607614"/>
                  </a:cubicBezTo>
                  <a:cubicBezTo>
                    <a:pt x="248602" y="415981"/>
                    <a:pt x="146979" y="248547"/>
                    <a:pt x="0" y="138245"/>
                  </a:cubicBezTo>
                  <a:cubicBezTo>
                    <a:pt x="115620" y="51435"/>
                    <a:pt x="259344" y="0"/>
                    <a:pt x="415059" y="0"/>
                  </a:cubicBezTo>
                  <a:cubicBezTo>
                    <a:pt x="511581" y="0"/>
                    <a:pt x="603490" y="19749"/>
                    <a:pt x="686990" y="55504"/>
                  </a:cubicBezTo>
                  <a:close/>
                </a:path>
              </a:pathLst>
            </a:custGeom>
            <a:solidFill>
              <a:schemeClr val="accent1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3" name="Freihandform: Form 8">
              <a:extLst>
                <a:ext uri="{FF2B5EF4-FFF2-40B4-BE49-F238E27FC236}">
                  <a16:creationId xmlns:a16="http://schemas.microsoft.com/office/drawing/2014/main" id="{6F1B698A-DFB0-A5AF-4E7B-3AF5F925A344}"/>
                </a:ext>
              </a:extLst>
            </p:cNvPr>
            <p:cNvSpPr>
              <a:spLocks/>
            </p:cNvSpPr>
            <p:nvPr/>
          </p:nvSpPr>
          <p:spPr>
            <a:xfrm>
              <a:off x="3072452" y="4222591"/>
              <a:ext cx="1230159" cy="1471365"/>
            </a:xfrm>
            <a:custGeom>
              <a:avLst/>
              <a:gdLst>
                <a:gd name="connsiteX0" fmla="*/ 1107149 w 1106823"/>
                <a:gd name="connsiteY0" fmla="*/ 1190433 h 1323848"/>
                <a:gd name="connsiteX1" fmla="*/ 692090 w 1106823"/>
                <a:gd name="connsiteY1" fmla="*/ 1328677 h 1323848"/>
                <a:gd name="connsiteX2" fmla="*/ 0 w 1106823"/>
                <a:gd name="connsiteY2" fmla="*/ 636586 h 1323848"/>
                <a:gd name="connsiteX3" fmla="*/ 420159 w 1106823"/>
                <a:gd name="connsiteY3" fmla="*/ 0 h 1323848"/>
                <a:gd name="connsiteX4" fmla="*/ 835218 w 1106823"/>
                <a:gd name="connsiteY4" fmla="*/ 552110 h 1323848"/>
                <a:gd name="connsiteX5" fmla="*/ 830118 w 1106823"/>
                <a:gd name="connsiteY5" fmla="*/ 636586 h 1323848"/>
                <a:gd name="connsiteX6" fmla="*/ 1107149 w 1106823"/>
                <a:gd name="connsiteY6" fmla="*/ 1190433 h 132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06823" h="1323848">
                  <a:moveTo>
                    <a:pt x="1107149" y="1190433"/>
                  </a:moveTo>
                  <a:cubicBezTo>
                    <a:pt x="991530" y="1277242"/>
                    <a:pt x="847805" y="1328677"/>
                    <a:pt x="692090" y="1328677"/>
                  </a:cubicBezTo>
                  <a:cubicBezTo>
                    <a:pt x="309856" y="1328677"/>
                    <a:pt x="0" y="1018821"/>
                    <a:pt x="0" y="636586"/>
                  </a:cubicBezTo>
                  <a:cubicBezTo>
                    <a:pt x="0" y="350874"/>
                    <a:pt x="173076" y="105637"/>
                    <a:pt x="420159" y="0"/>
                  </a:cubicBezTo>
                  <a:cubicBezTo>
                    <a:pt x="450433" y="248927"/>
                    <a:pt x="612876" y="457053"/>
                    <a:pt x="835218" y="552110"/>
                  </a:cubicBezTo>
                  <a:cubicBezTo>
                    <a:pt x="831854" y="579780"/>
                    <a:pt x="830118" y="607994"/>
                    <a:pt x="830118" y="636586"/>
                  </a:cubicBezTo>
                  <a:cubicBezTo>
                    <a:pt x="830118" y="863106"/>
                    <a:pt x="938955" y="1064179"/>
                    <a:pt x="1107149" y="1190433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4" name="Freihandform: Form 9">
              <a:extLst>
                <a:ext uri="{FF2B5EF4-FFF2-40B4-BE49-F238E27FC236}">
                  <a16:creationId xmlns:a16="http://schemas.microsoft.com/office/drawing/2014/main" id="{3A473FE8-7B19-C9C0-45AA-6AE09AE3A0D6}"/>
                </a:ext>
              </a:extLst>
            </p:cNvPr>
            <p:cNvSpPr>
              <a:spLocks/>
            </p:cNvSpPr>
            <p:nvPr/>
          </p:nvSpPr>
          <p:spPr>
            <a:xfrm>
              <a:off x="3995070" y="4836222"/>
              <a:ext cx="615079" cy="705531"/>
            </a:xfrm>
            <a:custGeom>
              <a:avLst/>
              <a:gdLst>
                <a:gd name="connsiteX0" fmla="*/ 554063 w 553411"/>
                <a:gd name="connsiteY0" fmla="*/ 84477 h 634796"/>
                <a:gd name="connsiteX1" fmla="*/ 277031 w 553411"/>
                <a:gd name="connsiteY1" fmla="*/ 638323 h 634796"/>
                <a:gd name="connsiteX2" fmla="*/ 0 w 553411"/>
                <a:gd name="connsiteY2" fmla="*/ 84477 h 634796"/>
                <a:gd name="connsiteX3" fmla="*/ 5100 w 553411"/>
                <a:gd name="connsiteY3" fmla="*/ 0 h 634796"/>
                <a:gd name="connsiteX4" fmla="*/ 277031 w 553411"/>
                <a:gd name="connsiteY4" fmla="*/ 55504 h 634796"/>
                <a:gd name="connsiteX5" fmla="*/ 548963 w 553411"/>
                <a:gd name="connsiteY5" fmla="*/ 0 h 634796"/>
                <a:gd name="connsiteX6" fmla="*/ 554063 w 553411"/>
                <a:gd name="connsiteY6" fmla="*/ 84477 h 6347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53411" h="634796">
                  <a:moveTo>
                    <a:pt x="554063" y="84477"/>
                  </a:moveTo>
                  <a:cubicBezTo>
                    <a:pt x="554063" y="310996"/>
                    <a:pt x="445225" y="512069"/>
                    <a:pt x="277031" y="638323"/>
                  </a:cubicBezTo>
                  <a:cubicBezTo>
                    <a:pt x="108837" y="512069"/>
                    <a:pt x="0" y="310996"/>
                    <a:pt x="0" y="84477"/>
                  </a:cubicBezTo>
                  <a:cubicBezTo>
                    <a:pt x="0" y="55884"/>
                    <a:pt x="1736" y="27670"/>
                    <a:pt x="5100" y="0"/>
                  </a:cubicBezTo>
                  <a:cubicBezTo>
                    <a:pt x="88600" y="35755"/>
                    <a:pt x="180509" y="55504"/>
                    <a:pt x="277031" y="55504"/>
                  </a:cubicBezTo>
                  <a:cubicBezTo>
                    <a:pt x="373553" y="55504"/>
                    <a:pt x="465462" y="35755"/>
                    <a:pt x="548963" y="0"/>
                  </a:cubicBezTo>
                  <a:cubicBezTo>
                    <a:pt x="552326" y="27670"/>
                    <a:pt x="554063" y="55884"/>
                    <a:pt x="554063" y="84477"/>
                  </a:cubicBezTo>
                  <a:close/>
                </a:path>
              </a:pathLst>
            </a:custGeom>
            <a:solidFill>
              <a:schemeClr val="accent1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5" name="Freihandform: Form 10">
              <a:extLst>
                <a:ext uri="{FF2B5EF4-FFF2-40B4-BE49-F238E27FC236}">
                  <a16:creationId xmlns:a16="http://schemas.microsoft.com/office/drawing/2014/main" id="{D6D0AD62-674A-F65E-06C9-D7A099FC8D19}"/>
                </a:ext>
              </a:extLst>
            </p:cNvPr>
            <p:cNvSpPr>
              <a:spLocks/>
            </p:cNvSpPr>
            <p:nvPr/>
          </p:nvSpPr>
          <p:spPr>
            <a:xfrm>
              <a:off x="3539428" y="4160902"/>
              <a:ext cx="759803" cy="669351"/>
            </a:xfrm>
            <a:custGeom>
              <a:avLst/>
              <a:gdLst>
                <a:gd name="connsiteX0" fmla="*/ 686990 w 683626"/>
                <a:gd name="connsiteY0" fmla="*/ 138245 h 602242"/>
                <a:gd name="connsiteX1" fmla="*/ 415059 w 683626"/>
                <a:gd name="connsiteY1" fmla="*/ 607614 h 602242"/>
                <a:gd name="connsiteX2" fmla="*/ 0 w 683626"/>
                <a:gd name="connsiteY2" fmla="*/ 55504 h 602242"/>
                <a:gd name="connsiteX3" fmla="*/ 271931 w 683626"/>
                <a:gd name="connsiteY3" fmla="*/ 0 h 602242"/>
                <a:gd name="connsiteX4" fmla="*/ 686990 w 683626"/>
                <a:gd name="connsiteY4" fmla="*/ 138245 h 6022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83626" h="602242">
                  <a:moveTo>
                    <a:pt x="686990" y="138245"/>
                  </a:moveTo>
                  <a:cubicBezTo>
                    <a:pt x="540011" y="248547"/>
                    <a:pt x="438389" y="415981"/>
                    <a:pt x="415059" y="607614"/>
                  </a:cubicBezTo>
                  <a:cubicBezTo>
                    <a:pt x="192718" y="512557"/>
                    <a:pt x="30275" y="304431"/>
                    <a:pt x="0" y="55504"/>
                  </a:cubicBezTo>
                  <a:cubicBezTo>
                    <a:pt x="83500" y="19749"/>
                    <a:pt x="175410" y="0"/>
                    <a:pt x="271931" y="0"/>
                  </a:cubicBezTo>
                  <a:cubicBezTo>
                    <a:pt x="427647" y="0"/>
                    <a:pt x="571371" y="51435"/>
                    <a:pt x="686990" y="138245"/>
                  </a:cubicBezTo>
                  <a:close/>
                </a:path>
              </a:pathLst>
            </a:custGeom>
            <a:solidFill>
              <a:schemeClr val="accent1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6" name="Freihandform: Form 11">
              <a:extLst>
                <a:ext uri="{FF2B5EF4-FFF2-40B4-BE49-F238E27FC236}">
                  <a16:creationId xmlns:a16="http://schemas.microsoft.com/office/drawing/2014/main" id="{37148305-959E-4410-BA02-5B57F1CDF222}"/>
                </a:ext>
              </a:extLst>
            </p:cNvPr>
            <p:cNvSpPr>
              <a:spLocks/>
            </p:cNvSpPr>
            <p:nvPr/>
          </p:nvSpPr>
          <p:spPr>
            <a:xfrm>
              <a:off x="4000738" y="4314551"/>
              <a:ext cx="603019" cy="578897"/>
            </a:xfrm>
            <a:custGeom>
              <a:avLst/>
              <a:gdLst>
                <a:gd name="connsiteX0" fmla="*/ 543863 w 542560"/>
                <a:gd name="connsiteY0" fmla="*/ 469369 h 520858"/>
                <a:gd name="connsiteX1" fmla="*/ 271931 w 542560"/>
                <a:gd name="connsiteY1" fmla="*/ 524873 h 520858"/>
                <a:gd name="connsiteX2" fmla="*/ 0 w 542560"/>
                <a:gd name="connsiteY2" fmla="*/ 469369 h 520858"/>
                <a:gd name="connsiteX3" fmla="*/ 271931 w 542560"/>
                <a:gd name="connsiteY3" fmla="*/ 0 h 520858"/>
                <a:gd name="connsiteX4" fmla="*/ 543863 w 542560"/>
                <a:gd name="connsiteY4" fmla="*/ 469369 h 520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2560" h="520858">
                  <a:moveTo>
                    <a:pt x="543863" y="469369"/>
                  </a:moveTo>
                  <a:cubicBezTo>
                    <a:pt x="460363" y="505124"/>
                    <a:pt x="368453" y="524873"/>
                    <a:pt x="271931" y="524873"/>
                  </a:cubicBezTo>
                  <a:cubicBezTo>
                    <a:pt x="175410" y="524873"/>
                    <a:pt x="83500" y="505124"/>
                    <a:pt x="0" y="469369"/>
                  </a:cubicBezTo>
                  <a:cubicBezTo>
                    <a:pt x="23330" y="277737"/>
                    <a:pt x="124952" y="110303"/>
                    <a:pt x="271931" y="0"/>
                  </a:cubicBezTo>
                  <a:cubicBezTo>
                    <a:pt x="418911" y="110303"/>
                    <a:pt x="520533" y="277737"/>
                    <a:pt x="543863" y="469369"/>
                  </a:cubicBezTo>
                  <a:close/>
                </a:path>
              </a:pathLst>
            </a:custGeom>
            <a:solidFill>
              <a:schemeClr val="accent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7" name="Textfeld 32">
              <a:extLst>
                <a:ext uri="{FF2B5EF4-FFF2-40B4-BE49-F238E27FC236}">
                  <a16:creationId xmlns:a16="http://schemas.microsoft.com/office/drawing/2014/main" id="{2AAF4772-9771-A47D-8B48-45B0FBE38A0F}"/>
                </a:ext>
              </a:extLst>
            </p:cNvPr>
            <p:cNvSpPr txBox="1">
              <a:spLocks/>
            </p:cNvSpPr>
            <p:nvPr/>
          </p:nvSpPr>
          <p:spPr>
            <a:xfrm>
              <a:off x="3844748" y="3798685"/>
              <a:ext cx="908903" cy="191143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none" lIns="0" tIns="0" rIns="0" bIns="0" rtlCol="0" anchor="ctr">
              <a:spAutoFit/>
            </a:bodyPr>
            <a:lstStyle/>
            <a:p>
              <a:pPr lvl="0" algn="ctr">
                <a:lnSpc>
                  <a:spcPct val="95000"/>
                </a:lnSpc>
                <a:spcBef>
                  <a:spcPts val="400"/>
                </a:spcBef>
                <a:buClr>
                  <a:srgbClr val="1A7449"/>
                </a:buClr>
                <a:buSzPct val="80000"/>
                <a:defRPr/>
              </a:pPr>
              <a:r>
                <a:rPr lang="en-US" altLang="zh-CN" sz="1300" dirty="0">
                  <a:solidFill>
                    <a:srgbClr val="575757"/>
                  </a:solidFill>
                  <a:ea typeface="Verdana" pitchFamily="34" charset="0"/>
                  <a:cs typeface="Verdana" pitchFamily="34" charset="0"/>
                </a:rPr>
                <a:t>{bulklet_17}</a:t>
              </a:r>
            </a:p>
          </p:txBody>
        </p:sp>
        <p:sp>
          <p:nvSpPr>
            <p:cNvPr id="28" name="Textfeld 33">
              <a:extLst>
                <a:ext uri="{FF2B5EF4-FFF2-40B4-BE49-F238E27FC236}">
                  <a16:creationId xmlns:a16="http://schemas.microsoft.com/office/drawing/2014/main" id="{AC273555-667B-D5B6-E369-4C984D254524}"/>
                </a:ext>
              </a:extLst>
            </p:cNvPr>
            <p:cNvSpPr txBox="1">
              <a:spLocks/>
            </p:cNvSpPr>
            <p:nvPr/>
          </p:nvSpPr>
          <p:spPr>
            <a:xfrm>
              <a:off x="4539652" y="4984258"/>
              <a:ext cx="921727" cy="191143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none" lIns="0" tIns="0" rIns="0" bIns="0" rtlCol="0" anchor="ctr">
              <a:spAutoFit/>
            </a:bodyPr>
            <a:lstStyle/>
            <a:p>
              <a:pPr lvl="0" algn="ctr">
                <a:lnSpc>
                  <a:spcPct val="95000"/>
                </a:lnSpc>
                <a:spcBef>
                  <a:spcPts val="400"/>
                </a:spcBef>
                <a:buClr>
                  <a:srgbClr val="1A7449"/>
                </a:buClr>
                <a:buSzPct val="80000"/>
                <a:defRPr/>
              </a:pPr>
              <a:r>
                <a:rPr lang="en-US" altLang="zh-CN" sz="1300" dirty="0">
                  <a:solidFill>
                    <a:srgbClr val="575757"/>
                  </a:solidFill>
                  <a:ea typeface="Verdana" pitchFamily="34" charset="0"/>
                  <a:cs typeface="Verdana" pitchFamily="34" charset="0"/>
                </a:rPr>
                <a:t>{bulklet_19}</a:t>
              </a:r>
            </a:p>
          </p:txBody>
        </p:sp>
        <p:sp>
          <p:nvSpPr>
            <p:cNvPr id="29" name="Textfeld 34">
              <a:extLst>
                <a:ext uri="{FF2B5EF4-FFF2-40B4-BE49-F238E27FC236}">
                  <a16:creationId xmlns:a16="http://schemas.microsoft.com/office/drawing/2014/main" id="{4F1835B4-5EAA-13EA-3258-9D962FA9F168}"/>
                </a:ext>
              </a:extLst>
            </p:cNvPr>
            <p:cNvSpPr txBox="1">
              <a:spLocks/>
            </p:cNvSpPr>
            <p:nvPr/>
          </p:nvSpPr>
          <p:spPr>
            <a:xfrm>
              <a:off x="3142601" y="4984258"/>
              <a:ext cx="924933" cy="191143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none" lIns="0" tIns="0" rIns="0" bIns="0" rtlCol="0" anchor="ctr">
              <a:spAutoFit/>
            </a:bodyPr>
            <a:lstStyle/>
            <a:p>
              <a:pPr lvl="0" algn="ctr">
                <a:lnSpc>
                  <a:spcPct val="95000"/>
                </a:lnSpc>
                <a:spcBef>
                  <a:spcPts val="400"/>
                </a:spcBef>
                <a:buClr>
                  <a:srgbClr val="1A7449"/>
                </a:buClr>
                <a:buSzPct val="80000"/>
                <a:defRPr/>
              </a:pPr>
              <a:r>
                <a:rPr lang="en-US" altLang="zh-CN" sz="1300" dirty="0">
                  <a:solidFill>
                    <a:srgbClr val="575757"/>
                  </a:solidFill>
                  <a:ea typeface="Verdana" pitchFamily="34" charset="0"/>
                  <a:cs typeface="Verdana" pitchFamily="34" charset="0"/>
                </a:rPr>
                <a:t>{bulklet_18}</a:t>
              </a:r>
            </a:p>
          </p:txBody>
        </p:sp>
      </p:grpSp>
      <p:grpSp>
        <p:nvGrpSpPr>
          <p:cNvPr id="30" name="Gruppieren 72">
            <a:extLst>
              <a:ext uri="{FF2B5EF4-FFF2-40B4-BE49-F238E27FC236}">
                <a16:creationId xmlns:a16="http://schemas.microsoft.com/office/drawing/2014/main" id="{E6392A92-5370-D8C3-C038-0EAFA1E5FC2C}"/>
              </a:ext>
            </a:extLst>
          </p:cNvPr>
          <p:cNvGrpSpPr>
            <a:grpSpLocks/>
          </p:cNvGrpSpPr>
          <p:nvPr/>
        </p:nvGrpSpPr>
        <p:grpSpPr>
          <a:xfrm>
            <a:off x="355017" y="1543833"/>
            <a:ext cx="2495939" cy="2334466"/>
            <a:chOff x="355017" y="1664875"/>
            <a:chExt cx="2495939" cy="2334466"/>
          </a:xfrm>
        </p:grpSpPr>
        <p:sp>
          <p:nvSpPr>
            <p:cNvPr id="31" name="Freihandform: Form 12">
              <a:extLst>
                <a:ext uri="{FF2B5EF4-FFF2-40B4-BE49-F238E27FC236}">
                  <a16:creationId xmlns:a16="http://schemas.microsoft.com/office/drawing/2014/main" id="{549669FB-33AE-2822-C0DB-E7B1F004F526}"/>
                </a:ext>
              </a:extLst>
            </p:cNvPr>
            <p:cNvSpPr>
              <a:spLocks/>
            </p:cNvSpPr>
            <p:nvPr/>
          </p:nvSpPr>
          <p:spPr>
            <a:xfrm>
              <a:off x="784070" y="1664875"/>
              <a:ext cx="1673007" cy="794306"/>
            </a:xfrm>
            <a:custGeom>
              <a:avLst/>
              <a:gdLst>
                <a:gd name="connsiteX0" fmla="*/ 1830274 w 1828429"/>
                <a:gd name="connsiteY0" fmla="*/ 869399 h 868097"/>
                <a:gd name="connsiteX1" fmla="*/ 1330196 w 1828429"/>
                <a:gd name="connsiteY1" fmla="*/ 721063 h 868097"/>
                <a:gd name="connsiteX2" fmla="*/ 915137 w 1828429"/>
                <a:gd name="connsiteY2" fmla="*/ 820189 h 868097"/>
                <a:gd name="connsiteX3" fmla="*/ 500078 w 1828429"/>
                <a:gd name="connsiteY3" fmla="*/ 721063 h 868097"/>
                <a:gd name="connsiteX4" fmla="*/ 0 w 1828429"/>
                <a:gd name="connsiteY4" fmla="*/ 869399 h 868097"/>
                <a:gd name="connsiteX5" fmla="*/ 915137 w 1828429"/>
                <a:gd name="connsiteY5" fmla="*/ 0 h 868097"/>
                <a:gd name="connsiteX6" fmla="*/ 1830274 w 1828429"/>
                <a:gd name="connsiteY6" fmla="*/ 869399 h 868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28429" h="868097">
                  <a:moveTo>
                    <a:pt x="1830274" y="869399"/>
                  </a:moveTo>
                  <a:cubicBezTo>
                    <a:pt x="1686495" y="775591"/>
                    <a:pt x="1514721" y="721063"/>
                    <a:pt x="1330196" y="721063"/>
                  </a:cubicBezTo>
                  <a:cubicBezTo>
                    <a:pt x="1180775" y="721063"/>
                    <a:pt x="1039763" y="756818"/>
                    <a:pt x="915137" y="820189"/>
                  </a:cubicBezTo>
                  <a:cubicBezTo>
                    <a:pt x="790511" y="756818"/>
                    <a:pt x="649499" y="721063"/>
                    <a:pt x="500078" y="721063"/>
                  </a:cubicBezTo>
                  <a:cubicBezTo>
                    <a:pt x="315553" y="721063"/>
                    <a:pt x="143779" y="775591"/>
                    <a:pt x="0" y="869399"/>
                  </a:cubicBezTo>
                  <a:cubicBezTo>
                    <a:pt x="24415" y="385110"/>
                    <a:pt x="424825" y="0"/>
                    <a:pt x="915137" y="0"/>
                  </a:cubicBezTo>
                  <a:cubicBezTo>
                    <a:pt x="1405503" y="0"/>
                    <a:pt x="1805859" y="385110"/>
                    <a:pt x="1830274" y="869399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2" name="Freihandform: Form 13">
              <a:extLst>
                <a:ext uri="{FF2B5EF4-FFF2-40B4-BE49-F238E27FC236}">
                  <a16:creationId xmlns:a16="http://schemas.microsoft.com/office/drawing/2014/main" id="{86ED6DB2-F094-ADFE-61A6-16E02FC4E081}"/>
                </a:ext>
              </a:extLst>
            </p:cNvPr>
            <p:cNvSpPr>
              <a:spLocks/>
            </p:cNvSpPr>
            <p:nvPr/>
          </p:nvSpPr>
          <p:spPr>
            <a:xfrm>
              <a:off x="1621418" y="2324646"/>
              <a:ext cx="834022" cy="878701"/>
            </a:xfrm>
            <a:custGeom>
              <a:avLst/>
              <a:gdLst>
                <a:gd name="connsiteX0" fmla="*/ 916330 w 911501"/>
                <a:gd name="connsiteY0" fmla="*/ 195268 h 960332"/>
                <a:gd name="connsiteX1" fmla="*/ 500078 w 911501"/>
                <a:gd name="connsiteY1" fmla="*/ 963208 h 960332"/>
                <a:gd name="connsiteX2" fmla="*/ 501271 w 911501"/>
                <a:gd name="connsiteY2" fmla="*/ 916331 h 960332"/>
                <a:gd name="connsiteX3" fmla="*/ 0 w 911501"/>
                <a:gd name="connsiteY3" fmla="*/ 99126 h 960332"/>
                <a:gd name="connsiteX4" fmla="*/ 415059 w 911501"/>
                <a:gd name="connsiteY4" fmla="*/ 0 h 960332"/>
                <a:gd name="connsiteX5" fmla="*/ 915137 w 911501"/>
                <a:gd name="connsiteY5" fmla="*/ 148336 h 960332"/>
                <a:gd name="connsiteX6" fmla="*/ 916330 w 911501"/>
                <a:gd name="connsiteY6" fmla="*/ 195268 h 9603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11501" h="960332">
                  <a:moveTo>
                    <a:pt x="916330" y="195268"/>
                  </a:moveTo>
                  <a:cubicBezTo>
                    <a:pt x="916330" y="516843"/>
                    <a:pt x="750686" y="799680"/>
                    <a:pt x="500078" y="963208"/>
                  </a:cubicBezTo>
                  <a:cubicBezTo>
                    <a:pt x="500891" y="947691"/>
                    <a:pt x="501271" y="932065"/>
                    <a:pt x="501271" y="916331"/>
                  </a:cubicBezTo>
                  <a:cubicBezTo>
                    <a:pt x="501271" y="559651"/>
                    <a:pt x="297485" y="250555"/>
                    <a:pt x="0" y="99126"/>
                  </a:cubicBezTo>
                  <a:cubicBezTo>
                    <a:pt x="124626" y="35755"/>
                    <a:pt x="265637" y="0"/>
                    <a:pt x="415059" y="0"/>
                  </a:cubicBezTo>
                  <a:cubicBezTo>
                    <a:pt x="599584" y="0"/>
                    <a:pt x="771358" y="54527"/>
                    <a:pt x="915137" y="148336"/>
                  </a:cubicBezTo>
                  <a:cubicBezTo>
                    <a:pt x="915950" y="163853"/>
                    <a:pt x="916330" y="179533"/>
                    <a:pt x="916330" y="195268"/>
                  </a:cubicBezTo>
                  <a:close/>
                </a:path>
              </a:pathLst>
            </a:custGeom>
            <a:solidFill>
              <a:schemeClr val="accent1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3" name="Freihandform: Form 14">
              <a:extLst>
                <a:ext uri="{FF2B5EF4-FFF2-40B4-BE49-F238E27FC236}">
                  <a16:creationId xmlns:a16="http://schemas.microsoft.com/office/drawing/2014/main" id="{A2BEB473-B251-8090-C3C1-993DF513E35C}"/>
                </a:ext>
              </a:extLst>
            </p:cNvPr>
            <p:cNvSpPr>
              <a:spLocks/>
            </p:cNvSpPr>
            <p:nvPr/>
          </p:nvSpPr>
          <p:spPr>
            <a:xfrm>
              <a:off x="1621418" y="2460373"/>
              <a:ext cx="1216282" cy="1538968"/>
            </a:xfrm>
            <a:custGeom>
              <a:avLst/>
              <a:gdLst>
                <a:gd name="connsiteX0" fmla="*/ 1331389 w 1329273"/>
                <a:gd name="connsiteY0" fmla="*/ 767995 h 1681938"/>
                <a:gd name="connsiteX1" fmla="*/ 415059 w 1329273"/>
                <a:gd name="connsiteY1" fmla="*/ 1684326 h 1681938"/>
                <a:gd name="connsiteX2" fmla="*/ 0 w 1329273"/>
                <a:gd name="connsiteY2" fmla="*/ 1585145 h 1681938"/>
                <a:gd name="connsiteX3" fmla="*/ 500078 w 1329273"/>
                <a:gd name="connsiteY3" fmla="*/ 814872 h 1681938"/>
                <a:gd name="connsiteX4" fmla="*/ 916330 w 1329273"/>
                <a:gd name="connsiteY4" fmla="*/ 46931 h 1681938"/>
                <a:gd name="connsiteX5" fmla="*/ 915137 w 1329273"/>
                <a:gd name="connsiteY5" fmla="*/ 0 h 1681938"/>
                <a:gd name="connsiteX6" fmla="*/ 1331389 w 1329273"/>
                <a:gd name="connsiteY6" fmla="*/ 767995 h 16819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29273" h="1681938">
                  <a:moveTo>
                    <a:pt x="1331389" y="767995"/>
                  </a:moveTo>
                  <a:cubicBezTo>
                    <a:pt x="1331389" y="1274041"/>
                    <a:pt x="921160" y="1684326"/>
                    <a:pt x="415059" y="1684326"/>
                  </a:cubicBezTo>
                  <a:cubicBezTo>
                    <a:pt x="265637" y="1684326"/>
                    <a:pt x="124626" y="1648571"/>
                    <a:pt x="0" y="1585145"/>
                  </a:cubicBezTo>
                  <a:cubicBezTo>
                    <a:pt x="284410" y="1440390"/>
                    <a:pt x="483151" y="1151585"/>
                    <a:pt x="500078" y="814872"/>
                  </a:cubicBezTo>
                  <a:cubicBezTo>
                    <a:pt x="750686" y="651344"/>
                    <a:pt x="916330" y="368507"/>
                    <a:pt x="916330" y="46931"/>
                  </a:cubicBezTo>
                  <a:cubicBezTo>
                    <a:pt x="916330" y="31197"/>
                    <a:pt x="915950" y="15517"/>
                    <a:pt x="915137" y="0"/>
                  </a:cubicBezTo>
                  <a:cubicBezTo>
                    <a:pt x="1165745" y="163528"/>
                    <a:pt x="1331389" y="446419"/>
                    <a:pt x="1331389" y="767995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4" name="Freihandform: Form 15">
              <a:extLst>
                <a:ext uri="{FF2B5EF4-FFF2-40B4-BE49-F238E27FC236}">
                  <a16:creationId xmlns:a16="http://schemas.microsoft.com/office/drawing/2014/main" id="{91F0F7E3-5E5B-12CC-C40B-F25AC2D986CF}"/>
                </a:ext>
              </a:extLst>
            </p:cNvPr>
            <p:cNvSpPr>
              <a:spLocks/>
            </p:cNvSpPr>
            <p:nvPr/>
          </p:nvSpPr>
          <p:spPr>
            <a:xfrm>
              <a:off x="1163848" y="3205978"/>
              <a:ext cx="913452" cy="699983"/>
            </a:xfrm>
            <a:custGeom>
              <a:avLst/>
              <a:gdLst>
                <a:gd name="connsiteX0" fmla="*/ 1000156 w 998311"/>
                <a:gd name="connsiteY0" fmla="*/ 0 h 765010"/>
                <a:gd name="connsiteX1" fmla="*/ 500078 w 998311"/>
                <a:gd name="connsiteY1" fmla="*/ 770273 h 765010"/>
                <a:gd name="connsiteX2" fmla="*/ 0 w 998311"/>
                <a:gd name="connsiteY2" fmla="*/ 0 h 765010"/>
                <a:gd name="connsiteX3" fmla="*/ 500078 w 998311"/>
                <a:gd name="connsiteY3" fmla="*/ 148390 h 765010"/>
                <a:gd name="connsiteX4" fmla="*/ 1000156 w 998311"/>
                <a:gd name="connsiteY4" fmla="*/ 0 h 765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8311" h="765010">
                  <a:moveTo>
                    <a:pt x="1000156" y="0"/>
                  </a:moveTo>
                  <a:cubicBezTo>
                    <a:pt x="983229" y="336713"/>
                    <a:pt x="784488" y="625518"/>
                    <a:pt x="500078" y="770273"/>
                  </a:cubicBezTo>
                  <a:cubicBezTo>
                    <a:pt x="215722" y="625518"/>
                    <a:pt x="16982" y="336713"/>
                    <a:pt x="0" y="0"/>
                  </a:cubicBezTo>
                  <a:cubicBezTo>
                    <a:pt x="143779" y="93863"/>
                    <a:pt x="315553" y="148390"/>
                    <a:pt x="500078" y="148390"/>
                  </a:cubicBezTo>
                  <a:cubicBezTo>
                    <a:pt x="684603" y="148390"/>
                    <a:pt x="856378" y="93863"/>
                    <a:pt x="1000156" y="0"/>
                  </a:cubicBezTo>
                  <a:close/>
                </a:path>
              </a:pathLst>
            </a:custGeom>
            <a:solidFill>
              <a:schemeClr val="accent1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5" name="Freihandform: Form 16">
              <a:extLst>
                <a:ext uri="{FF2B5EF4-FFF2-40B4-BE49-F238E27FC236}">
                  <a16:creationId xmlns:a16="http://schemas.microsoft.com/office/drawing/2014/main" id="{D38E0181-00C1-5351-0E70-BA8C17B6A3EA}"/>
                </a:ext>
              </a:extLst>
            </p:cNvPr>
            <p:cNvSpPr>
              <a:spLocks/>
            </p:cNvSpPr>
            <p:nvPr/>
          </p:nvSpPr>
          <p:spPr>
            <a:xfrm>
              <a:off x="403200" y="2460373"/>
              <a:ext cx="1216282" cy="1538968"/>
            </a:xfrm>
            <a:custGeom>
              <a:avLst/>
              <a:gdLst>
                <a:gd name="connsiteX0" fmla="*/ 1331390 w 1329273"/>
                <a:gd name="connsiteY0" fmla="*/ 1585145 h 1681938"/>
                <a:gd name="connsiteX1" fmla="*/ 916331 w 1329273"/>
                <a:gd name="connsiteY1" fmla="*/ 1684326 h 1681938"/>
                <a:gd name="connsiteX2" fmla="*/ 0 w 1329273"/>
                <a:gd name="connsiteY2" fmla="*/ 767995 h 1681938"/>
                <a:gd name="connsiteX3" fmla="*/ 416252 w 1329273"/>
                <a:gd name="connsiteY3" fmla="*/ 0 h 1681938"/>
                <a:gd name="connsiteX4" fmla="*/ 415059 w 1329273"/>
                <a:gd name="connsiteY4" fmla="*/ 46931 h 1681938"/>
                <a:gd name="connsiteX5" fmla="*/ 831311 w 1329273"/>
                <a:gd name="connsiteY5" fmla="*/ 814872 h 1681938"/>
                <a:gd name="connsiteX6" fmla="*/ 1331390 w 1329273"/>
                <a:gd name="connsiteY6" fmla="*/ 1585145 h 16819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29273" h="1681938">
                  <a:moveTo>
                    <a:pt x="1331390" y="1585145"/>
                  </a:moveTo>
                  <a:cubicBezTo>
                    <a:pt x="1206763" y="1648571"/>
                    <a:pt x="1065752" y="1684326"/>
                    <a:pt x="916331" y="1684326"/>
                  </a:cubicBezTo>
                  <a:cubicBezTo>
                    <a:pt x="410284" y="1684326"/>
                    <a:pt x="0" y="1274041"/>
                    <a:pt x="0" y="767995"/>
                  </a:cubicBezTo>
                  <a:cubicBezTo>
                    <a:pt x="0" y="446419"/>
                    <a:pt x="165643" y="163528"/>
                    <a:pt x="416252" y="0"/>
                  </a:cubicBezTo>
                  <a:cubicBezTo>
                    <a:pt x="415438" y="15517"/>
                    <a:pt x="415059" y="31197"/>
                    <a:pt x="415059" y="46931"/>
                  </a:cubicBezTo>
                  <a:cubicBezTo>
                    <a:pt x="415059" y="368507"/>
                    <a:pt x="580702" y="651344"/>
                    <a:pt x="831311" y="814872"/>
                  </a:cubicBezTo>
                  <a:cubicBezTo>
                    <a:pt x="848293" y="1151585"/>
                    <a:pt x="1047033" y="1440390"/>
                    <a:pt x="1331390" y="1585145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6" name="Freihandform: Form 17">
              <a:extLst>
                <a:ext uri="{FF2B5EF4-FFF2-40B4-BE49-F238E27FC236}">
                  <a16:creationId xmlns:a16="http://schemas.microsoft.com/office/drawing/2014/main" id="{AED2373B-74CB-0EE7-31B2-C4BF9BEC7E11}"/>
                </a:ext>
              </a:extLst>
            </p:cNvPr>
            <p:cNvSpPr>
              <a:spLocks/>
            </p:cNvSpPr>
            <p:nvPr/>
          </p:nvSpPr>
          <p:spPr>
            <a:xfrm>
              <a:off x="782978" y="2324646"/>
              <a:ext cx="834022" cy="878701"/>
            </a:xfrm>
            <a:custGeom>
              <a:avLst/>
              <a:gdLst>
                <a:gd name="connsiteX0" fmla="*/ 415059 w 911501"/>
                <a:gd name="connsiteY0" fmla="*/ 916331 h 960332"/>
                <a:gd name="connsiteX1" fmla="*/ 416252 w 911501"/>
                <a:gd name="connsiteY1" fmla="*/ 963208 h 960332"/>
                <a:gd name="connsiteX2" fmla="*/ 0 w 911501"/>
                <a:gd name="connsiteY2" fmla="*/ 195268 h 960332"/>
                <a:gd name="connsiteX3" fmla="*/ 1193 w 911501"/>
                <a:gd name="connsiteY3" fmla="*/ 148336 h 960332"/>
                <a:gd name="connsiteX4" fmla="*/ 501272 w 911501"/>
                <a:gd name="connsiteY4" fmla="*/ 0 h 960332"/>
                <a:gd name="connsiteX5" fmla="*/ 916331 w 911501"/>
                <a:gd name="connsiteY5" fmla="*/ 99126 h 960332"/>
                <a:gd name="connsiteX6" fmla="*/ 415059 w 911501"/>
                <a:gd name="connsiteY6" fmla="*/ 916331 h 9603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11501" h="960332">
                  <a:moveTo>
                    <a:pt x="415059" y="916331"/>
                  </a:moveTo>
                  <a:cubicBezTo>
                    <a:pt x="415059" y="932065"/>
                    <a:pt x="415438" y="947691"/>
                    <a:pt x="416252" y="963208"/>
                  </a:cubicBezTo>
                  <a:cubicBezTo>
                    <a:pt x="165643" y="799680"/>
                    <a:pt x="0" y="516843"/>
                    <a:pt x="0" y="195268"/>
                  </a:cubicBezTo>
                  <a:cubicBezTo>
                    <a:pt x="0" y="179533"/>
                    <a:pt x="380" y="163853"/>
                    <a:pt x="1193" y="148336"/>
                  </a:cubicBezTo>
                  <a:cubicBezTo>
                    <a:pt x="144972" y="54527"/>
                    <a:pt x="316747" y="0"/>
                    <a:pt x="501272" y="0"/>
                  </a:cubicBezTo>
                  <a:cubicBezTo>
                    <a:pt x="650693" y="0"/>
                    <a:pt x="791704" y="35755"/>
                    <a:pt x="916331" y="99126"/>
                  </a:cubicBezTo>
                  <a:cubicBezTo>
                    <a:pt x="618844" y="250555"/>
                    <a:pt x="415059" y="559651"/>
                    <a:pt x="415059" y="916331"/>
                  </a:cubicBezTo>
                  <a:close/>
                </a:path>
              </a:pathLst>
            </a:custGeom>
            <a:solidFill>
              <a:schemeClr val="accent1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7" name="Freihandform: Form 18">
              <a:extLst>
                <a:ext uri="{FF2B5EF4-FFF2-40B4-BE49-F238E27FC236}">
                  <a16:creationId xmlns:a16="http://schemas.microsoft.com/office/drawing/2014/main" id="{2DC5E297-E140-B2AE-434A-FA853A8D7D1B}"/>
                </a:ext>
              </a:extLst>
            </p:cNvPr>
            <p:cNvSpPr>
              <a:spLocks/>
            </p:cNvSpPr>
            <p:nvPr/>
          </p:nvSpPr>
          <p:spPr>
            <a:xfrm>
              <a:off x="1162756" y="2415346"/>
              <a:ext cx="913452" cy="923381"/>
            </a:xfrm>
            <a:custGeom>
              <a:avLst/>
              <a:gdLst>
                <a:gd name="connsiteX0" fmla="*/ 1002543 w 998311"/>
                <a:gd name="connsiteY0" fmla="*/ 817205 h 1009162"/>
                <a:gd name="connsiteX1" fmla="*/ 1001350 w 998311"/>
                <a:gd name="connsiteY1" fmla="*/ 864082 h 1009162"/>
                <a:gd name="connsiteX2" fmla="*/ 501272 w 998311"/>
                <a:gd name="connsiteY2" fmla="*/ 1012473 h 1009162"/>
                <a:gd name="connsiteX3" fmla="*/ 1193 w 998311"/>
                <a:gd name="connsiteY3" fmla="*/ 864082 h 1009162"/>
                <a:gd name="connsiteX4" fmla="*/ 0 w 998311"/>
                <a:gd name="connsiteY4" fmla="*/ 817205 h 1009162"/>
                <a:gd name="connsiteX5" fmla="*/ 501272 w 998311"/>
                <a:gd name="connsiteY5" fmla="*/ 0 h 1009162"/>
                <a:gd name="connsiteX6" fmla="*/ 1002543 w 998311"/>
                <a:gd name="connsiteY6" fmla="*/ 817205 h 1009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98311" h="1009162">
                  <a:moveTo>
                    <a:pt x="1002543" y="817205"/>
                  </a:moveTo>
                  <a:cubicBezTo>
                    <a:pt x="1002543" y="832939"/>
                    <a:pt x="1002163" y="848565"/>
                    <a:pt x="1001350" y="864082"/>
                  </a:cubicBezTo>
                  <a:cubicBezTo>
                    <a:pt x="857571" y="957945"/>
                    <a:pt x="685796" y="1012473"/>
                    <a:pt x="501272" y="1012473"/>
                  </a:cubicBezTo>
                  <a:cubicBezTo>
                    <a:pt x="316747" y="1012473"/>
                    <a:pt x="144972" y="957945"/>
                    <a:pt x="1193" y="864082"/>
                  </a:cubicBezTo>
                  <a:cubicBezTo>
                    <a:pt x="380" y="848565"/>
                    <a:pt x="0" y="832939"/>
                    <a:pt x="0" y="817205"/>
                  </a:cubicBezTo>
                  <a:cubicBezTo>
                    <a:pt x="0" y="460526"/>
                    <a:pt x="203785" y="151429"/>
                    <a:pt x="501272" y="0"/>
                  </a:cubicBezTo>
                  <a:cubicBezTo>
                    <a:pt x="798757" y="151429"/>
                    <a:pt x="1002543" y="460526"/>
                    <a:pt x="1002543" y="817205"/>
                  </a:cubicBezTo>
                  <a:close/>
                </a:path>
              </a:pathLst>
            </a:custGeom>
            <a:solidFill>
              <a:schemeClr val="accent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38" name="Textfeld 35">
              <a:extLst>
                <a:ext uri="{FF2B5EF4-FFF2-40B4-BE49-F238E27FC236}">
                  <a16:creationId xmlns:a16="http://schemas.microsoft.com/office/drawing/2014/main" id="{B31E155C-070B-D116-BAE8-AD9100763DF0}"/>
                </a:ext>
              </a:extLst>
            </p:cNvPr>
            <p:cNvSpPr txBox="1">
              <a:spLocks/>
            </p:cNvSpPr>
            <p:nvPr/>
          </p:nvSpPr>
          <p:spPr>
            <a:xfrm>
              <a:off x="1208093" y="1959788"/>
              <a:ext cx="817531" cy="191143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5000"/>
                </a:lnSpc>
                <a:spcBef>
                  <a:spcPts val="400"/>
                </a:spcBef>
                <a:spcAft>
                  <a:spcPts val="0"/>
                </a:spcAft>
                <a:buClr>
                  <a:srgbClr val="1A7449"/>
                </a:buClr>
                <a:buSzPct val="80000"/>
                <a:buFontTx/>
                <a:buNone/>
                <a:tabLst/>
                <a:defRPr/>
              </a:pPr>
              <a:r>
                <a:rPr kumimoji="0" lang="en-US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理想品牌字体 2022"/>
                  <a:ea typeface="Verdana" pitchFamily="34" charset="0"/>
                  <a:cs typeface="Verdana" pitchFamily="34" charset="0"/>
                </a:rPr>
                <a:t>{bulklet_1}</a:t>
              </a:r>
            </a:p>
          </p:txBody>
        </p:sp>
        <p:sp>
          <p:nvSpPr>
            <p:cNvPr id="39" name="Textfeld 36">
              <a:extLst>
                <a:ext uri="{FF2B5EF4-FFF2-40B4-BE49-F238E27FC236}">
                  <a16:creationId xmlns:a16="http://schemas.microsoft.com/office/drawing/2014/main" id="{BCDB77CA-CDAE-79CB-2899-CE9DF05A806B}"/>
                </a:ext>
              </a:extLst>
            </p:cNvPr>
            <p:cNvSpPr txBox="1">
              <a:spLocks/>
            </p:cNvSpPr>
            <p:nvPr/>
          </p:nvSpPr>
          <p:spPr>
            <a:xfrm>
              <a:off x="2001364" y="3275909"/>
              <a:ext cx="849592" cy="191143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none" lIns="0" tIns="0" rIns="0" bIns="0" rtlCol="0" anchor="ctr">
              <a:spAutoFit/>
            </a:bodyPr>
            <a:lstStyle/>
            <a:p>
              <a:pPr lvl="0" algn="ctr">
                <a:lnSpc>
                  <a:spcPct val="95000"/>
                </a:lnSpc>
                <a:spcBef>
                  <a:spcPts val="400"/>
                </a:spcBef>
                <a:buClr>
                  <a:srgbClr val="1A7449"/>
                </a:buClr>
                <a:buSzPct val="80000"/>
                <a:defRPr/>
              </a:pPr>
              <a:r>
                <a:rPr lang="en-US" altLang="zh-CN" sz="1300" dirty="0">
                  <a:solidFill>
                    <a:srgbClr val="575757"/>
                  </a:solidFill>
                  <a:ea typeface="Verdana" pitchFamily="34" charset="0"/>
                  <a:cs typeface="Verdana" pitchFamily="34" charset="0"/>
                </a:rPr>
                <a:t>{bulklet_3}</a:t>
              </a:r>
            </a:p>
          </p:txBody>
        </p:sp>
        <p:sp>
          <p:nvSpPr>
            <p:cNvPr id="40" name="Textfeld 37">
              <a:extLst>
                <a:ext uri="{FF2B5EF4-FFF2-40B4-BE49-F238E27FC236}">
                  <a16:creationId xmlns:a16="http://schemas.microsoft.com/office/drawing/2014/main" id="{5A2E017C-9E0E-4012-AB1C-A6C87144302F}"/>
                </a:ext>
              </a:extLst>
            </p:cNvPr>
            <p:cNvSpPr txBox="1">
              <a:spLocks/>
            </p:cNvSpPr>
            <p:nvPr/>
          </p:nvSpPr>
          <p:spPr>
            <a:xfrm>
              <a:off x="355017" y="3275909"/>
              <a:ext cx="851195" cy="191143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none" lIns="0" tIns="0" rIns="0" bIns="0" rtlCol="0" anchor="ctr">
              <a:spAutoFit/>
            </a:bodyPr>
            <a:lstStyle/>
            <a:p>
              <a:pPr lvl="0" algn="ctr">
                <a:lnSpc>
                  <a:spcPct val="95000"/>
                </a:lnSpc>
                <a:spcBef>
                  <a:spcPts val="400"/>
                </a:spcBef>
                <a:buClr>
                  <a:srgbClr val="1A7449"/>
                </a:buClr>
                <a:buSzPct val="80000"/>
                <a:defRPr/>
              </a:pPr>
              <a:r>
                <a:rPr lang="en-US" altLang="zh-CN" sz="1300" dirty="0">
                  <a:solidFill>
                    <a:srgbClr val="575757"/>
                  </a:solidFill>
                  <a:ea typeface="Verdana" pitchFamily="34" charset="0"/>
                  <a:cs typeface="Verdana" pitchFamily="34" charset="0"/>
                </a:rPr>
                <a:t>{bulklet_2}</a:t>
              </a:r>
            </a:p>
          </p:txBody>
        </p:sp>
        <p:sp>
          <p:nvSpPr>
            <p:cNvPr id="41" name="Textfeld 39">
              <a:extLst>
                <a:ext uri="{FF2B5EF4-FFF2-40B4-BE49-F238E27FC236}">
                  <a16:creationId xmlns:a16="http://schemas.microsoft.com/office/drawing/2014/main" id="{7C2F208B-6ED9-909C-ED85-E16874BEF25D}"/>
                </a:ext>
              </a:extLst>
            </p:cNvPr>
            <p:cNvSpPr txBox="1">
              <a:spLocks/>
            </p:cNvSpPr>
            <p:nvPr/>
          </p:nvSpPr>
          <p:spPr>
            <a:xfrm>
              <a:off x="1237167" y="2832265"/>
              <a:ext cx="764633" cy="191143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5000"/>
                </a:lnSpc>
                <a:spcBef>
                  <a:spcPts val="400"/>
                </a:spcBef>
                <a:spcAft>
                  <a:spcPts val="0"/>
                </a:spcAft>
                <a:buClr>
                  <a:srgbClr val="1A7449"/>
                </a:buClr>
                <a:buSzPct val="80000"/>
                <a:buFontTx/>
                <a:buNone/>
                <a:tabLst/>
                <a:defRPr/>
              </a:pPr>
              <a:r>
                <a:rPr kumimoji="0" lang="en-US" sz="13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理想品牌字体 2022"/>
                  <a:ea typeface="Verdana" pitchFamily="34" charset="0"/>
                  <a:cs typeface="Verdana" pitchFamily="34" charset="0"/>
                </a:rPr>
                <a:t>{bullet_4}</a:t>
              </a:r>
            </a:p>
          </p:txBody>
        </p:sp>
      </p:grpSp>
      <p:grpSp>
        <p:nvGrpSpPr>
          <p:cNvPr id="42" name="Gruppieren 69">
            <a:extLst>
              <a:ext uri="{FF2B5EF4-FFF2-40B4-BE49-F238E27FC236}">
                <a16:creationId xmlns:a16="http://schemas.microsoft.com/office/drawing/2014/main" id="{ABD4A860-2761-EFBC-0659-6850765C98E0}"/>
              </a:ext>
            </a:extLst>
          </p:cNvPr>
          <p:cNvGrpSpPr>
            <a:grpSpLocks/>
          </p:cNvGrpSpPr>
          <p:nvPr/>
        </p:nvGrpSpPr>
        <p:grpSpPr>
          <a:xfrm>
            <a:off x="5951185" y="3097349"/>
            <a:ext cx="3016915" cy="2854328"/>
            <a:chOff x="8885776" y="2827300"/>
            <a:chExt cx="3016915" cy="2854328"/>
          </a:xfrm>
        </p:grpSpPr>
        <p:sp>
          <p:nvSpPr>
            <p:cNvPr id="43" name="Freihandform: Form 62">
              <a:extLst>
                <a:ext uri="{FF2B5EF4-FFF2-40B4-BE49-F238E27FC236}">
                  <a16:creationId xmlns:a16="http://schemas.microsoft.com/office/drawing/2014/main" id="{C5DD1A62-0AB2-94B3-8D4A-0AC5785FBAE4}"/>
                </a:ext>
              </a:extLst>
            </p:cNvPr>
            <p:cNvSpPr>
              <a:spLocks/>
            </p:cNvSpPr>
            <p:nvPr/>
          </p:nvSpPr>
          <p:spPr>
            <a:xfrm>
              <a:off x="9512087" y="3373521"/>
              <a:ext cx="891820" cy="891818"/>
            </a:xfrm>
            <a:custGeom>
              <a:avLst/>
              <a:gdLst>
                <a:gd name="connsiteX0" fmla="*/ 325751 w 891820"/>
                <a:gd name="connsiteY0" fmla="*/ 0 h 891818"/>
                <a:gd name="connsiteX1" fmla="*/ 813279 w 891820"/>
                <a:gd name="connsiteY1" fmla="*/ 148919 h 891818"/>
                <a:gd name="connsiteX2" fmla="*/ 891820 w 891820"/>
                <a:gd name="connsiteY2" fmla="*/ 213721 h 891818"/>
                <a:gd name="connsiteX3" fmla="*/ 819561 w 891820"/>
                <a:gd name="connsiteY3" fmla="*/ 273340 h 891818"/>
                <a:gd name="connsiteX4" fmla="*/ 632690 w 891820"/>
                <a:gd name="connsiteY4" fmla="*/ 550506 h 891818"/>
                <a:gd name="connsiteX5" fmla="*/ 610669 w 891820"/>
                <a:gd name="connsiteY5" fmla="*/ 610671 h 891818"/>
                <a:gd name="connsiteX6" fmla="*/ 550506 w 891820"/>
                <a:gd name="connsiteY6" fmla="*/ 632691 h 891818"/>
                <a:gd name="connsiteX7" fmla="*/ 273340 w 891820"/>
                <a:gd name="connsiteY7" fmla="*/ 819561 h 891818"/>
                <a:gd name="connsiteX8" fmla="*/ 213722 w 891820"/>
                <a:gd name="connsiteY8" fmla="*/ 891818 h 891818"/>
                <a:gd name="connsiteX9" fmla="*/ 148919 w 891820"/>
                <a:gd name="connsiteY9" fmla="*/ 813276 h 891818"/>
                <a:gd name="connsiteX10" fmla="*/ 0 w 891820"/>
                <a:gd name="connsiteY10" fmla="*/ 325749 h 891818"/>
                <a:gd name="connsiteX11" fmla="*/ 39202 w 891820"/>
                <a:gd name="connsiteY11" fmla="*/ 66452 h 891818"/>
                <a:gd name="connsiteX12" fmla="*/ 46503 w 891820"/>
                <a:gd name="connsiteY12" fmla="*/ 46504 h 891818"/>
                <a:gd name="connsiteX13" fmla="*/ 66453 w 891820"/>
                <a:gd name="connsiteY13" fmla="*/ 39202 h 891818"/>
                <a:gd name="connsiteX14" fmla="*/ 325751 w 891820"/>
                <a:gd name="connsiteY14" fmla="*/ 0 h 891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91820" h="891818">
                  <a:moveTo>
                    <a:pt x="325751" y="0"/>
                  </a:moveTo>
                  <a:cubicBezTo>
                    <a:pt x="506342" y="0"/>
                    <a:pt x="674111" y="54899"/>
                    <a:pt x="813279" y="148919"/>
                  </a:cubicBezTo>
                  <a:lnTo>
                    <a:pt x="891820" y="213721"/>
                  </a:lnTo>
                  <a:lnTo>
                    <a:pt x="819561" y="273340"/>
                  </a:lnTo>
                  <a:cubicBezTo>
                    <a:pt x="740663" y="352238"/>
                    <a:pt x="676814" y="446185"/>
                    <a:pt x="632690" y="550506"/>
                  </a:cubicBezTo>
                  <a:lnTo>
                    <a:pt x="610669" y="610671"/>
                  </a:lnTo>
                  <a:lnTo>
                    <a:pt x="550506" y="632691"/>
                  </a:lnTo>
                  <a:cubicBezTo>
                    <a:pt x="446185" y="676815"/>
                    <a:pt x="352238" y="740663"/>
                    <a:pt x="273340" y="819561"/>
                  </a:cubicBezTo>
                  <a:lnTo>
                    <a:pt x="213722" y="891818"/>
                  </a:lnTo>
                  <a:lnTo>
                    <a:pt x="148919" y="813276"/>
                  </a:lnTo>
                  <a:cubicBezTo>
                    <a:pt x="54899" y="674109"/>
                    <a:pt x="0" y="506340"/>
                    <a:pt x="0" y="325749"/>
                  </a:cubicBezTo>
                  <a:cubicBezTo>
                    <a:pt x="0" y="235454"/>
                    <a:pt x="13725" y="148364"/>
                    <a:pt x="39202" y="66452"/>
                  </a:cubicBezTo>
                  <a:lnTo>
                    <a:pt x="46503" y="46504"/>
                  </a:lnTo>
                  <a:lnTo>
                    <a:pt x="66453" y="39202"/>
                  </a:lnTo>
                  <a:cubicBezTo>
                    <a:pt x="148365" y="13725"/>
                    <a:pt x="235455" y="0"/>
                    <a:pt x="325751" y="0"/>
                  </a:cubicBezTo>
                  <a:close/>
                </a:path>
              </a:pathLst>
            </a:custGeom>
            <a:solidFill>
              <a:schemeClr val="accent1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45" name="Freihandform: Form 61">
              <a:extLst>
                <a:ext uri="{FF2B5EF4-FFF2-40B4-BE49-F238E27FC236}">
                  <a16:creationId xmlns:a16="http://schemas.microsoft.com/office/drawing/2014/main" id="{A3179FB6-FF80-D45E-85D1-0FC4E4ECB8AC}"/>
                </a:ext>
              </a:extLst>
            </p:cNvPr>
            <p:cNvSpPr>
              <a:spLocks/>
            </p:cNvSpPr>
            <p:nvPr/>
          </p:nvSpPr>
          <p:spPr>
            <a:xfrm>
              <a:off x="10403907" y="3391468"/>
              <a:ext cx="852124" cy="852123"/>
            </a:xfrm>
            <a:custGeom>
              <a:avLst/>
              <a:gdLst>
                <a:gd name="connsiteX0" fmla="*/ 544318 w 852124"/>
                <a:gd name="connsiteY0" fmla="*/ 0 h 852123"/>
                <a:gd name="connsiteX1" fmla="*/ 803616 w 852124"/>
                <a:gd name="connsiteY1" fmla="*/ 39202 h 852123"/>
                <a:gd name="connsiteX2" fmla="*/ 810429 w 852124"/>
                <a:gd name="connsiteY2" fmla="*/ 41696 h 852123"/>
                <a:gd name="connsiteX3" fmla="*/ 812922 w 852124"/>
                <a:gd name="connsiteY3" fmla="*/ 48506 h 852123"/>
                <a:gd name="connsiteX4" fmla="*/ 852124 w 852124"/>
                <a:gd name="connsiteY4" fmla="*/ 307803 h 852123"/>
                <a:gd name="connsiteX5" fmla="*/ 703205 w 852124"/>
                <a:gd name="connsiteY5" fmla="*/ 795330 h 852123"/>
                <a:gd name="connsiteX6" fmla="*/ 656347 w 852124"/>
                <a:gd name="connsiteY6" fmla="*/ 852123 h 852123"/>
                <a:gd name="connsiteX7" fmla="*/ 614674 w 852124"/>
                <a:gd name="connsiteY7" fmla="*/ 801615 h 852123"/>
                <a:gd name="connsiteX8" fmla="*/ 337508 w 852124"/>
                <a:gd name="connsiteY8" fmla="*/ 614745 h 852123"/>
                <a:gd name="connsiteX9" fmla="*/ 264208 w 852124"/>
                <a:gd name="connsiteY9" fmla="*/ 587917 h 852123"/>
                <a:gd name="connsiteX10" fmla="*/ 237379 w 852124"/>
                <a:gd name="connsiteY10" fmla="*/ 514614 h 852123"/>
                <a:gd name="connsiteX11" fmla="*/ 50508 w 852124"/>
                <a:gd name="connsiteY11" fmla="*/ 237448 h 852123"/>
                <a:gd name="connsiteX12" fmla="*/ 0 w 852124"/>
                <a:gd name="connsiteY12" fmla="*/ 195775 h 852123"/>
                <a:gd name="connsiteX13" fmla="*/ 56790 w 852124"/>
                <a:gd name="connsiteY13" fmla="*/ 148919 h 852123"/>
                <a:gd name="connsiteX14" fmla="*/ 544318 w 852124"/>
                <a:gd name="connsiteY14" fmla="*/ 0 h 852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52124" h="852123">
                  <a:moveTo>
                    <a:pt x="544318" y="0"/>
                  </a:moveTo>
                  <a:cubicBezTo>
                    <a:pt x="634614" y="0"/>
                    <a:pt x="721704" y="13725"/>
                    <a:pt x="803616" y="39202"/>
                  </a:cubicBezTo>
                  <a:lnTo>
                    <a:pt x="810429" y="41696"/>
                  </a:lnTo>
                  <a:lnTo>
                    <a:pt x="812922" y="48506"/>
                  </a:lnTo>
                  <a:cubicBezTo>
                    <a:pt x="838399" y="130418"/>
                    <a:pt x="852124" y="217508"/>
                    <a:pt x="852124" y="307803"/>
                  </a:cubicBezTo>
                  <a:cubicBezTo>
                    <a:pt x="852124" y="488394"/>
                    <a:pt x="797225" y="656163"/>
                    <a:pt x="703205" y="795330"/>
                  </a:cubicBezTo>
                  <a:lnTo>
                    <a:pt x="656347" y="852123"/>
                  </a:lnTo>
                  <a:lnTo>
                    <a:pt x="614674" y="801615"/>
                  </a:lnTo>
                  <a:cubicBezTo>
                    <a:pt x="535776" y="722717"/>
                    <a:pt x="441829" y="658869"/>
                    <a:pt x="337508" y="614745"/>
                  </a:cubicBezTo>
                  <a:lnTo>
                    <a:pt x="264208" y="587917"/>
                  </a:lnTo>
                  <a:lnTo>
                    <a:pt x="237379" y="514614"/>
                  </a:lnTo>
                  <a:cubicBezTo>
                    <a:pt x="193255" y="410293"/>
                    <a:pt x="129406" y="316346"/>
                    <a:pt x="50508" y="237448"/>
                  </a:cubicBezTo>
                  <a:lnTo>
                    <a:pt x="0" y="195775"/>
                  </a:lnTo>
                  <a:lnTo>
                    <a:pt x="56790" y="148919"/>
                  </a:lnTo>
                  <a:cubicBezTo>
                    <a:pt x="195958" y="54899"/>
                    <a:pt x="363727" y="0"/>
                    <a:pt x="544318" y="0"/>
                  </a:cubicBezTo>
                  <a:close/>
                </a:path>
              </a:pathLst>
            </a:custGeom>
            <a:solidFill>
              <a:schemeClr val="accent1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46" name="Freihandform: Form 60">
              <a:extLst>
                <a:ext uri="{FF2B5EF4-FFF2-40B4-BE49-F238E27FC236}">
                  <a16:creationId xmlns:a16="http://schemas.microsoft.com/office/drawing/2014/main" id="{19893DA2-3421-45DB-7AE0-5673BB1DBA94}"/>
                </a:ext>
              </a:extLst>
            </p:cNvPr>
            <p:cNvSpPr>
              <a:spLocks/>
            </p:cNvSpPr>
            <p:nvPr/>
          </p:nvSpPr>
          <p:spPr>
            <a:xfrm>
              <a:off x="10076253" y="3937688"/>
              <a:ext cx="633557" cy="633552"/>
            </a:xfrm>
            <a:custGeom>
              <a:avLst/>
              <a:gdLst>
                <a:gd name="connsiteX0" fmla="*/ 325751 w 633557"/>
                <a:gd name="connsiteY0" fmla="*/ 0 h 633552"/>
                <a:gd name="connsiteX1" fmla="*/ 585049 w 633557"/>
                <a:gd name="connsiteY1" fmla="*/ 39202 h 633552"/>
                <a:gd name="connsiteX2" fmla="*/ 591862 w 633557"/>
                <a:gd name="connsiteY2" fmla="*/ 41696 h 633552"/>
                <a:gd name="connsiteX3" fmla="*/ 594355 w 633557"/>
                <a:gd name="connsiteY3" fmla="*/ 48506 h 633552"/>
                <a:gd name="connsiteX4" fmla="*/ 633557 w 633557"/>
                <a:gd name="connsiteY4" fmla="*/ 307803 h 633552"/>
                <a:gd name="connsiteX5" fmla="*/ 594355 w 633557"/>
                <a:gd name="connsiteY5" fmla="*/ 567100 h 633552"/>
                <a:gd name="connsiteX6" fmla="*/ 587054 w 633557"/>
                <a:gd name="connsiteY6" fmla="*/ 587048 h 633552"/>
                <a:gd name="connsiteX7" fmla="*/ 567104 w 633557"/>
                <a:gd name="connsiteY7" fmla="*/ 594350 h 633552"/>
                <a:gd name="connsiteX8" fmla="*/ 307806 w 633557"/>
                <a:gd name="connsiteY8" fmla="*/ 633552 h 633552"/>
                <a:gd name="connsiteX9" fmla="*/ 48508 w 633557"/>
                <a:gd name="connsiteY9" fmla="*/ 594350 h 633552"/>
                <a:gd name="connsiteX10" fmla="*/ 41695 w 633557"/>
                <a:gd name="connsiteY10" fmla="*/ 591856 h 633552"/>
                <a:gd name="connsiteX11" fmla="*/ 39202 w 633557"/>
                <a:gd name="connsiteY11" fmla="*/ 585046 h 633552"/>
                <a:gd name="connsiteX12" fmla="*/ 0 w 633557"/>
                <a:gd name="connsiteY12" fmla="*/ 325749 h 633552"/>
                <a:gd name="connsiteX13" fmla="*/ 39202 w 633557"/>
                <a:gd name="connsiteY13" fmla="*/ 66452 h 633552"/>
                <a:gd name="connsiteX14" fmla="*/ 46503 w 633557"/>
                <a:gd name="connsiteY14" fmla="*/ 46504 h 633552"/>
                <a:gd name="connsiteX15" fmla="*/ 66453 w 633557"/>
                <a:gd name="connsiteY15" fmla="*/ 39202 h 633552"/>
                <a:gd name="connsiteX16" fmla="*/ 325751 w 633557"/>
                <a:gd name="connsiteY16" fmla="*/ 0 h 633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557" h="633552">
                  <a:moveTo>
                    <a:pt x="325751" y="0"/>
                  </a:moveTo>
                  <a:cubicBezTo>
                    <a:pt x="416047" y="0"/>
                    <a:pt x="503137" y="13725"/>
                    <a:pt x="585049" y="39202"/>
                  </a:cubicBezTo>
                  <a:lnTo>
                    <a:pt x="591862" y="41696"/>
                  </a:lnTo>
                  <a:lnTo>
                    <a:pt x="594355" y="48506"/>
                  </a:lnTo>
                  <a:cubicBezTo>
                    <a:pt x="619832" y="130418"/>
                    <a:pt x="633557" y="217508"/>
                    <a:pt x="633557" y="307803"/>
                  </a:cubicBezTo>
                  <a:cubicBezTo>
                    <a:pt x="633557" y="398099"/>
                    <a:pt x="619832" y="485189"/>
                    <a:pt x="594355" y="567100"/>
                  </a:cubicBezTo>
                  <a:lnTo>
                    <a:pt x="587054" y="587048"/>
                  </a:lnTo>
                  <a:lnTo>
                    <a:pt x="567104" y="594350"/>
                  </a:lnTo>
                  <a:cubicBezTo>
                    <a:pt x="485192" y="619827"/>
                    <a:pt x="398102" y="633552"/>
                    <a:pt x="307806" y="633552"/>
                  </a:cubicBezTo>
                  <a:cubicBezTo>
                    <a:pt x="217510" y="633552"/>
                    <a:pt x="130420" y="619827"/>
                    <a:pt x="48508" y="594350"/>
                  </a:cubicBezTo>
                  <a:lnTo>
                    <a:pt x="41695" y="591856"/>
                  </a:lnTo>
                  <a:lnTo>
                    <a:pt x="39202" y="585046"/>
                  </a:lnTo>
                  <a:cubicBezTo>
                    <a:pt x="13725" y="503135"/>
                    <a:pt x="0" y="416045"/>
                    <a:pt x="0" y="325749"/>
                  </a:cubicBezTo>
                  <a:cubicBezTo>
                    <a:pt x="0" y="235454"/>
                    <a:pt x="13725" y="148364"/>
                    <a:pt x="39202" y="66452"/>
                  </a:cubicBezTo>
                  <a:lnTo>
                    <a:pt x="46503" y="46504"/>
                  </a:lnTo>
                  <a:lnTo>
                    <a:pt x="66453" y="39202"/>
                  </a:lnTo>
                  <a:cubicBezTo>
                    <a:pt x="148365" y="13725"/>
                    <a:pt x="235455" y="0"/>
                    <a:pt x="325751" y="0"/>
                  </a:cubicBezTo>
                  <a:close/>
                </a:path>
              </a:pathLst>
            </a:custGeom>
            <a:solidFill>
              <a:schemeClr val="bg1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47" name="Freihandform: Form 59">
              <a:extLst>
                <a:ext uri="{FF2B5EF4-FFF2-40B4-BE49-F238E27FC236}">
                  <a16:creationId xmlns:a16="http://schemas.microsoft.com/office/drawing/2014/main" id="{6B099C04-4E68-AA01-897C-8FF58F3A1414}"/>
                </a:ext>
              </a:extLst>
            </p:cNvPr>
            <p:cNvSpPr>
              <a:spLocks/>
            </p:cNvSpPr>
            <p:nvPr/>
          </p:nvSpPr>
          <p:spPr>
            <a:xfrm>
              <a:off x="10382156" y="4243591"/>
              <a:ext cx="891820" cy="891817"/>
            </a:xfrm>
            <a:custGeom>
              <a:avLst/>
              <a:gdLst>
                <a:gd name="connsiteX0" fmla="*/ 678098 w 891820"/>
                <a:gd name="connsiteY0" fmla="*/ 0 h 891817"/>
                <a:gd name="connsiteX1" fmla="*/ 742901 w 891820"/>
                <a:gd name="connsiteY1" fmla="*/ 78541 h 891817"/>
                <a:gd name="connsiteX2" fmla="*/ 891820 w 891820"/>
                <a:gd name="connsiteY2" fmla="*/ 566068 h 891817"/>
                <a:gd name="connsiteX3" fmla="*/ 852618 w 891820"/>
                <a:gd name="connsiteY3" fmla="*/ 825365 h 891817"/>
                <a:gd name="connsiteX4" fmla="*/ 845317 w 891820"/>
                <a:gd name="connsiteY4" fmla="*/ 845313 h 891817"/>
                <a:gd name="connsiteX5" fmla="*/ 825367 w 891820"/>
                <a:gd name="connsiteY5" fmla="*/ 852615 h 891817"/>
                <a:gd name="connsiteX6" fmla="*/ 566069 w 891820"/>
                <a:gd name="connsiteY6" fmla="*/ 891817 h 891817"/>
                <a:gd name="connsiteX7" fmla="*/ 78541 w 891820"/>
                <a:gd name="connsiteY7" fmla="*/ 742898 h 891817"/>
                <a:gd name="connsiteX8" fmla="*/ 0 w 891820"/>
                <a:gd name="connsiteY8" fmla="*/ 678096 h 891817"/>
                <a:gd name="connsiteX9" fmla="*/ 72259 w 891820"/>
                <a:gd name="connsiteY9" fmla="*/ 618477 h 891817"/>
                <a:gd name="connsiteX10" fmla="*/ 259130 w 891820"/>
                <a:gd name="connsiteY10" fmla="*/ 341311 h 891817"/>
                <a:gd name="connsiteX11" fmla="*/ 281151 w 891820"/>
                <a:gd name="connsiteY11" fmla="*/ 281146 h 891817"/>
                <a:gd name="connsiteX12" fmla="*/ 341314 w 891820"/>
                <a:gd name="connsiteY12" fmla="*/ 259126 h 891817"/>
                <a:gd name="connsiteX13" fmla="*/ 618480 w 891820"/>
                <a:gd name="connsiteY13" fmla="*/ 72256 h 891817"/>
                <a:gd name="connsiteX14" fmla="*/ 678098 w 891820"/>
                <a:gd name="connsiteY14" fmla="*/ 0 h 891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91820" h="891817">
                  <a:moveTo>
                    <a:pt x="678098" y="0"/>
                  </a:moveTo>
                  <a:lnTo>
                    <a:pt x="742901" y="78541"/>
                  </a:lnTo>
                  <a:cubicBezTo>
                    <a:pt x="836921" y="217709"/>
                    <a:pt x="891820" y="385477"/>
                    <a:pt x="891820" y="566068"/>
                  </a:cubicBezTo>
                  <a:cubicBezTo>
                    <a:pt x="891820" y="656364"/>
                    <a:pt x="878095" y="743454"/>
                    <a:pt x="852618" y="825365"/>
                  </a:cubicBezTo>
                  <a:lnTo>
                    <a:pt x="845317" y="845313"/>
                  </a:lnTo>
                  <a:lnTo>
                    <a:pt x="825367" y="852615"/>
                  </a:lnTo>
                  <a:cubicBezTo>
                    <a:pt x="743455" y="878092"/>
                    <a:pt x="656365" y="891817"/>
                    <a:pt x="566069" y="891817"/>
                  </a:cubicBezTo>
                  <a:cubicBezTo>
                    <a:pt x="385478" y="891817"/>
                    <a:pt x="217709" y="836918"/>
                    <a:pt x="78541" y="742898"/>
                  </a:cubicBezTo>
                  <a:lnTo>
                    <a:pt x="0" y="678096"/>
                  </a:lnTo>
                  <a:lnTo>
                    <a:pt x="72259" y="618477"/>
                  </a:lnTo>
                  <a:cubicBezTo>
                    <a:pt x="151157" y="539579"/>
                    <a:pt x="215006" y="445632"/>
                    <a:pt x="259130" y="341311"/>
                  </a:cubicBezTo>
                  <a:lnTo>
                    <a:pt x="281151" y="281146"/>
                  </a:lnTo>
                  <a:lnTo>
                    <a:pt x="341314" y="259126"/>
                  </a:lnTo>
                  <a:cubicBezTo>
                    <a:pt x="445635" y="215002"/>
                    <a:pt x="539582" y="151154"/>
                    <a:pt x="618480" y="72256"/>
                  </a:cubicBezTo>
                  <a:lnTo>
                    <a:pt x="678098" y="0"/>
                  </a:lnTo>
                  <a:close/>
                </a:path>
              </a:pathLst>
            </a:custGeom>
            <a:solidFill>
              <a:schemeClr val="accent1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48" name="Freihandform: Form 58">
              <a:extLst>
                <a:ext uri="{FF2B5EF4-FFF2-40B4-BE49-F238E27FC236}">
                  <a16:creationId xmlns:a16="http://schemas.microsoft.com/office/drawing/2014/main" id="{4B1BE1FD-57E4-E783-7742-87CCA959092D}"/>
                </a:ext>
              </a:extLst>
            </p:cNvPr>
            <p:cNvSpPr>
              <a:spLocks/>
            </p:cNvSpPr>
            <p:nvPr/>
          </p:nvSpPr>
          <p:spPr>
            <a:xfrm>
              <a:off x="9530032" y="4265339"/>
              <a:ext cx="852124" cy="852122"/>
            </a:xfrm>
            <a:custGeom>
              <a:avLst/>
              <a:gdLst>
                <a:gd name="connsiteX0" fmla="*/ 195777 w 852124"/>
                <a:gd name="connsiteY0" fmla="*/ 0 h 852122"/>
                <a:gd name="connsiteX1" fmla="*/ 237450 w 852124"/>
                <a:gd name="connsiteY1" fmla="*/ 50507 h 852122"/>
                <a:gd name="connsiteX2" fmla="*/ 514616 w 852124"/>
                <a:gd name="connsiteY2" fmla="*/ 237377 h 852122"/>
                <a:gd name="connsiteX3" fmla="*/ 587916 w 852124"/>
                <a:gd name="connsiteY3" fmla="*/ 264205 h 852122"/>
                <a:gd name="connsiteX4" fmla="*/ 614745 w 852124"/>
                <a:gd name="connsiteY4" fmla="*/ 337508 h 852122"/>
                <a:gd name="connsiteX5" fmla="*/ 801616 w 852124"/>
                <a:gd name="connsiteY5" fmla="*/ 614674 h 852122"/>
                <a:gd name="connsiteX6" fmla="*/ 852124 w 852124"/>
                <a:gd name="connsiteY6" fmla="*/ 656347 h 852122"/>
                <a:gd name="connsiteX7" fmla="*/ 795334 w 852124"/>
                <a:gd name="connsiteY7" fmla="*/ 703203 h 852122"/>
                <a:gd name="connsiteX8" fmla="*/ 307806 w 852124"/>
                <a:gd name="connsiteY8" fmla="*/ 852122 h 852122"/>
                <a:gd name="connsiteX9" fmla="*/ 48508 w 852124"/>
                <a:gd name="connsiteY9" fmla="*/ 812920 h 852122"/>
                <a:gd name="connsiteX10" fmla="*/ 41695 w 852124"/>
                <a:gd name="connsiteY10" fmla="*/ 810426 h 852122"/>
                <a:gd name="connsiteX11" fmla="*/ 39202 w 852124"/>
                <a:gd name="connsiteY11" fmla="*/ 803616 h 852122"/>
                <a:gd name="connsiteX12" fmla="*/ 0 w 852124"/>
                <a:gd name="connsiteY12" fmla="*/ 544319 h 852122"/>
                <a:gd name="connsiteX13" fmla="*/ 148919 w 852124"/>
                <a:gd name="connsiteY13" fmla="*/ 56792 h 852122"/>
                <a:gd name="connsiteX14" fmla="*/ 195777 w 852124"/>
                <a:gd name="connsiteY14" fmla="*/ 0 h 852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52124" h="852122">
                  <a:moveTo>
                    <a:pt x="195777" y="0"/>
                  </a:moveTo>
                  <a:lnTo>
                    <a:pt x="237450" y="50507"/>
                  </a:lnTo>
                  <a:cubicBezTo>
                    <a:pt x="316348" y="129405"/>
                    <a:pt x="410295" y="193253"/>
                    <a:pt x="514616" y="237377"/>
                  </a:cubicBezTo>
                  <a:lnTo>
                    <a:pt x="587916" y="264205"/>
                  </a:lnTo>
                  <a:lnTo>
                    <a:pt x="614745" y="337508"/>
                  </a:lnTo>
                  <a:cubicBezTo>
                    <a:pt x="658869" y="441829"/>
                    <a:pt x="722718" y="535776"/>
                    <a:pt x="801616" y="614674"/>
                  </a:cubicBezTo>
                  <a:lnTo>
                    <a:pt x="852124" y="656347"/>
                  </a:lnTo>
                  <a:lnTo>
                    <a:pt x="795334" y="703203"/>
                  </a:lnTo>
                  <a:cubicBezTo>
                    <a:pt x="656166" y="797223"/>
                    <a:pt x="488397" y="852122"/>
                    <a:pt x="307806" y="852122"/>
                  </a:cubicBezTo>
                  <a:cubicBezTo>
                    <a:pt x="217510" y="852122"/>
                    <a:pt x="130420" y="838397"/>
                    <a:pt x="48508" y="812920"/>
                  </a:cubicBezTo>
                  <a:lnTo>
                    <a:pt x="41695" y="810426"/>
                  </a:lnTo>
                  <a:lnTo>
                    <a:pt x="39202" y="803616"/>
                  </a:lnTo>
                  <a:cubicBezTo>
                    <a:pt x="13725" y="721705"/>
                    <a:pt x="0" y="634615"/>
                    <a:pt x="0" y="544319"/>
                  </a:cubicBezTo>
                  <a:cubicBezTo>
                    <a:pt x="0" y="363728"/>
                    <a:pt x="54899" y="195960"/>
                    <a:pt x="148919" y="56792"/>
                  </a:cubicBezTo>
                  <a:lnTo>
                    <a:pt x="195777" y="0"/>
                  </a:lnTo>
                  <a:close/>
                </a:path>
              </a:pathLst>
            </a:custGeom>
            <a:solidFill>
              <a:schemeClr val="accent1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49" name="Freihandform: Form 57">
              <a:extLst>
                <a:ext uri="{FF2B5EF4-FFF2-40B4-BE49-F238E27FC236}">
                  <a16:creationId xmlns:a16="http://schemas.microsoft.com/office/drawing/2014/main" id="{DE5E81F9-5B85-AA7C-E030-E0FD83CABE6E}"/>
                </a:ext>
              </a:extLst>
            </p:cNvPr>
            <p:cNvSpPr>
              <a:spLocks/>
            </p:cNvSpPr>
            <p:nvPr/>
          </p:nvSpPr>
          <p:spPr>
            <a:xfrm>
              <a:off x="9558590" y="2827300"/>
              <a:ext cx="1655746" cy="759942"/>
            </a:xfrm>
            <a:custGeom>
              <a:avLst/>
              <a:gdLst>
                <a:gd name="connsiteX0" fmla="*/ 825469 w 1655746"/>
                <a:gd name="connsiteY0" fmla="*/ 0 h 759942"/>
                <a:gd name="connsiteX1" fmla="*/ 1628917 w 1655746"/>
                <a:gd name="connsiteY1" fmla="*/ 532560 h 759942"/>
                <a:gd name="connsiteX2" fmla="*/ 1655746 w 1655746"/>
                <a:gd name="connsiteY2" fmla="*/ 605863 h 759942"/>
                <a:gd name="connsiteX3" fmla="*/ 1648933 w 1655746"/>
                <a:gd name="connsiteY3" fmla="*/ 603369 h 759942"/>
                <a:gd name="connsiteX4" fmla="*/ 1389635 w 1655746"/>
                <a:gd name="connsiteY4" fmla="*/ 564167 h 759942"/>
                <a:gd name="connsiteX5" fmla="*/ 902107 w 1655746"/>
                <a:gd name="connsiteY5" fmla="*/ 713086 h 759942"/>
                <a:gd name="connsiteX6" fmla="*/ 845317 w 1655746"/>
                <a:gd name="connsiteY6" fmla="*/ 759942 h 759942"/>
                <a:gd name="connsiteX7" fmla="*/ 766776 w 1655746"/>
                <a:gd name="connsiteY7" fmla="*/ 695140 h 759942"/>
                <a:gd name="connsiteX8" fmla="*/ 279248 w 1655746"/>
                <a:gd name="connsiteY8" fmla="*/ 546221 h 759942"/>
                <a:gd name="connsiteX9" fmla="*/ 19950 w 1655746"/>
                <a:gd name="connsiteY9" fmla="*/ 585423 h 759942"/>
                <a:gd name="connsiteX10" fmla="*/ 0 w 1655746"/>
                <a:gd name="connsiteY10" fmla="*/ 592725 h 759942"/>
                <a:gd name="connsiteX11" fmla="*/ 22021 w 1655746"/>
                <a:gd name="connsiteY11" fmla="*/ 532560 h 759942"/>
                <a:gd name="connsiteX12" fmla="*/ 825469 w 1655746"/>
                <a:gd name="connsiteY12" fmla="*/ 0 h 759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655746" h="759942">
                  <a:moveTo>
                    <a:pt x="825469" y="0"/>
                  </a:moveTo>
                  <a:cubicBezTo>
                    <a:pt x="1186652" y="0"/>
                    <a:pt x="1496545" y="219597"/>
                    <a:pt x="1628917" y="532560"/>
                  </a:cubicBezTo>
                  <a:lnTo>
                    <a:pt x="1655746" y="605863"/>
                  </a:lnTo>
                  <a:lnTo>
                    <a:pt x="1648933" y="603369"/>
                  </a:lnTo>
                  <a:cubicBezTo>
                    <a:pt x="1567021" y="577892"/>
                    <a:pt x="1479931" y="564167"/>
                    <a:pt x="1389635" y="564167"/>
                  </a:cubicBezTo>
                  <a:cubicBezTo>
                    <a:pt x="1209044" y="564167"/>
                    <a:pt x="1041275" y="619066"/>
                    <a:pt x="902107" y="713086"/>
                  </a:cubicBezTo>
                  <a:lnTo>
                    <a:pt x="845317" y="759942"/>
                  </a:lnTo>
                  <a:lnTo>
                    <a:pt x="766776" y="695140"/>
                  </a:lnTo>
                  <a:cubicBezTo>
                    <a:pt x="627608" y="601120"/>
                    <a:pt x="459839" y="546221"/>
                    <a:pt x="279248" y="546221"/>
                  </a:cubicBezTo>
                  <a:cubicBezTo>
                    <a:pt x="188952" y="546221"/>
                    <a:pt x="101862" y="559946"/>
                    <a:pt x="19950" y="585423"/>
                  </a:cubicBezTo>
                  <a:lnTo>
                    <a:pt x="0" y="592725"/>
                  </a:lnTo>
                  <a:lnTo>
                    <a:pt x="22021" y="532560"/>
                  </a:lnTo>
                  <a:cubicBezTo>
                    <a:pt x="154393" y="219597"/>
                    <a:pt x="464286" y="0"/>
                    <a:pt x="825469" y="0"/>
                  </a:cubicBezTo>
                  <a:close/>
                </a:path>
              </a:pathLst>
            </a:custGeom>
            <a:solidFill>
              <a:schemeClr val="bg2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50" name="Freihandform: Form 56">
              <a:extLst>
                <a:ext uri="{FF2B5EF4-FFF2-40B4-BE49-F238E27FC236}">
                  <a16:creationId xmlns:a16="http://schemas.microsoft.com/office/drawing/2014/main" id="{B30E9403-165B-0046-8348-C5BB79CC56B7}"/>
                </a:ext>
              </a:extLst>
            </p:cNvPr>
            <p:cNvSpPr>
              <a:spLocks/>
            </p:cNvSpPr>
            <p:nvPr/>
          </p:nvSpPr>
          <p:spPr>
            <a:xfrm>
              <a:off x="8965866" y="3420025"/>
              <a:ext cx="759943" cy="1655740"/>
            </a:xfrm>
            <a:custGeom>
              <a:avLst/>
              <a:gdLst>
                <a:gd name="connsiteX0" fmla="*/ 592724 w 759943"/>
                <a:gd name="connsiteY0" fmla="*/ 0 h 1655740"/>
                <a:gd name="connsiteX1" fmla="*/ 585423 w 759943"/>
                <a:gd name="connsiteY1" fmla="*/ 19948 h 1655740"/>
                <a:gd name="connsiteX2" fmla="*/ 546221 w 759943"/>
                <a:gd name="connsiteY2" fmla="*/ 279245 h 1655740"/>
                <a:gd name="connsiteX3" fmla="*/ 695140 w 759943"/>
                <a:gd name="connsiteY3" fmla="*/ 766772 h 1655740"/>
                <a:gd name="connsiteX4" fmla="*/ 759943 w 759943"/>
                <a:gd name="connsiteY4" fmla="*/ 845314 h 1655740"/>
                <a:gd name="connsiteX5" fmla="*/ 713085 w 759943"/>
                <a:gd name="connsiteY5" fmla="*/ 902106 h 1655740"/>
                <a:gd name="connsiteX6" fmla="*/ 564166 w 759943"/>
                <a:gd name="connsiteY6" fmla="*/ 1389633 h 1655740"/>
                <a:gd name="connsiteX7" fmla="*/ 603368 w 759943"/>
                <a:gd name="connsiteY7" fmla="*/ 1648930 h 1655740"/>
                <a:gd name="connsiteX8" fmla="*/ 605861 w 759943"/>
                <a:gd name="connsiteY8" fmla="*/ 1655740 h 1655740"/>
                <a:gd name="connsiteX9" fmla="*/ 532561 w 759943"/>
                <a:gd name="connsiteY9" fmla="*/ 1628912 h 1655740"/>
                <a:gd name="connsiteX10" fmla="*/ 0 w 759943"/>
                <a:gd name="connsiteY10" fmla="*/ 825466 h 1655740"/>
                <a:gd name="connsiteX11" fmla="*/ 532561 w 759943"/>
                <a:gd name="connsiteY11" fmla="*/ 22020 h 1655740"/>
                <a:gd name="connsiteX12" fmla="*/ 592724 w 759943"/>
                <a:gd name="connsiteY12" fmla="*/ 0 h 1655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59943" h="1655740">
                  <a:moveTo>
                    <a:pt x="592724" y="0"/>
                  </a:moveTo>
                  <a:lnTo>
                    <a:pt x="585423" y="19948"/>
                  </a:lnTo>
                  <a:cubicBezTo>
                    <a:pt x="559946" y="101860"/>
                    <a:pt x="546221" y="188950"/>
                    <a:pt x="546221" y="279245"/>
                  </a:cubicBezTo>
                  <a:cubicBezTo>
                    <a:pt x="546221" y="459836"/>
                    <a:pt x="601120" y="627605"/>
                    <a:pt x="695140" y="766772"/>
                  </a:cubicBezTo>
                  <a:lnTo>
                    <a:pt x="759943" y="845314"/>
                  </a:lnTo>
                  <a:lnTo>
                    <a:pt x="713085" y="902106"/>
                  </a:lnTo>
                  <a:cubicBezTo>
                    <a:pt x="619065" y="1041274"/>
                    <a:pt x="564166" y="1209042"/>
                    <a:pt x="564166" y="1389633"/>
                  </a:cubicBezTo>
                  <a:cubicBezTo>
                    <a:pt x="564166" y="1479929"/>
                    <a:pt x="577891" y="1567019"/>
                    <a:pt x="603368" y="1648930"/>
                  </a:cubicBezTo>
                  <a:lnTo>
                    <a:pt x="605861" y="1655740"/>
                  </a:lnTo>
                  <a:lnTo>
                    <a:pt x="532561" y="1628912"/>
                  </a:lnTo>
                  <a:cubicBezTo>
                    <a:pt x="219597" y="1496540"/>
                    <a:pt x="0" y="1186648"/>
                    <a:pt x="0" y="825466"/>
                  </a:cubicBezTo>
                  <a:cubicBezTo>
                    <a:pt x="0" y="464284"/>
                    <a:pt x="219597" y="154392"/>
                    <a:pt x="532561" y="22020"/>
                  </a:cubicBezTo>
                  <a:lnTo>
                    <a:pt x="592724" y="0"/>
                  </a:lnTo>
                  <a:close/>
                </a:path>
              </a:pathLst>
            </a:custGeom>
            <a:solidFill>
              <a:schemeClr val="bg2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51" name="Freihandform: Form 55">
              <a:extLst>
                <a:ext uri="{FF2B5EF4-FFF2-40B4-BE49-F238E27FC236}">
                  <a16:creationId xmlns:a16="http://schemas.microsoft.com/office/drawing/2014/main" id="{E695F16B-92E7-1D31-7DAC-DFCEA63A1E36}"/>
                </a:ext>
              </a:extLst>
            </p:cNvPr>
            <p:cNvSpPr>
              <a:spLocks/>
            </p:cNvSpPr>
            <p:nvPr/>
          </p:nvSpPr>
          <p:spPr>
            <a:xfrm>
              <a:off x="11060254" y="3433163"/>
              <a:ext cx="759943" cy="1655740"/>
            </a:xfrm>
            <a:custGeom>
              <a:avLst/>
              <a:gdLst>
                <a:gd name="connsiteX0" fmla="*/ 154082 w 759943"/>
                <a:gd name="connsiteY0" fmla="*/ 0 h 1655740"/>
                <a:gd name="connsiteX1" fmla="*/ 227382 w 759943"/>
                <a:gd name="connsiteY1" fmla="*/ 26828 h 1655740"/>
                <a:gd name="connsiteX2" fmla="*/ 759943 w 759943"/>
                <a:gd name="connsiteY2" fmla="*/ 830274 h 1655740"/>
                <a:gd name="connsiteX3" fmla="*/ 227382 w 759943"/>
                <a:gd name="connsiteY3" fmla="*/ 1633720 h 1655740"/>
                <a:gd name="connsiteX4" fmla="*/ 167219 w 759943"/>
                <a:gd name="connsiteY4" fmla="*/ 1655740 h 1655740"/>
                <a:gd name="connsiteX5" fmla="*/ 174520 w 759943"/>
                <a:gd name="connsiteY5" fmla="*/ 1635792 h 1655740"/>
                <a:gd name="connsiteX6" fmla="*/ 213722 w 759943"/>
                <a:gd name="connsiteY6" fmla="*/ 1376495 h 1655740"/>
                <a:gd name="connsiteX7" fmla="*/ 64803 w 759943"/>
                <a:gd name="connsiteY7" fmla="*/ 888968 h 1655740"/>
                <a:gd name="connsiteX8" fmla="*/ 0 w 759943"/>
                <a:gd name="connsiteY8" fmla="*/ 810427 h 1655740"/>
                <a:gd name="connsiteX9" fmla="*/ 46858 w 759943"/>
                <a:gd name="connsiteY9" fmla="*/ 753634 h 1655740"/>
                <a:gd name="connsiteX10" fmla="*/ 195777 w 759943"/>
                <a:gd name="connsiteY10" fmla="*/ 266107 h 1655740"/>
                <a:gd name="connsiteX11" fmla="*/ 156575 w 759943"/>
                <a:gd name="connsiteY11" fmla="*/ 6810 h 1655740"/>
                <a:gd name="connsiteX12" fmla="*/ 154082 w 759943"/>
                <a:gd name="connsiteY12" fmla="*/ 0 h 1655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59943" h="1655740">
                  <a:moveTo>
                    <a:pt x="154082" y="0"/>
                  </a:moveTo>
                  <a:lnTo>
                    <a:pt x="227382" y="26828"/>
                  </a:lnTo>
                  <a:cubicBezTo>
                    <a:pt x="540346" y="159200"/>
                    <a:pt x="759943" y="469092"/>
                    <a:pt x="759943" y="830274"/>
                  </a:cubicBezTo>
                  <a:cubicBezTo>
                    <a:pt x="759943" y="1191456"/>
                    <a:pt x="540346" y="1501348"/>
                    <a:pt x="227382" y="1633720"/>
                  </a:cubicBezTo>
                  <a:lnTo>
                    <a:pt x="167219" y="1655740"/>
                  </a:lnTo>
                  <a:lnTo>
                    <a:pt x="174520" y="1635792"/>
                  </a:lnTo>
                  <a:cubicBezTo>
                    <a:pt x="199997" y="1553881"/>
                    <a:pt x="213722" y="1466791"/>
                    <a:pt x="213722" y="1376495"/>
                  </a:cubicBezTo>
                  <a:cubicBezTo>
                    <a:pt x="213722" y="1195904"/>
                    <a:pt x="158823" y="1028136"/>
                    <a:pt x="64803" y="888968"/>
                  </a:cubicBezTo>
                  <a:lnTo>
                    <a:pt x="0" y="810427"/>
                  </a:lnTo>
                  <a:lnTo>
                    <a:pt x="46858" y="753634"/>
                  </a:lnTo>
                  <a:cubicBezTo>
                    <a:pt x="140878" y="614467"/>
                    <a:pt x="195777" y="446698"/>
                    <a:pt x="195777" y="266107"/>
                  </a:cubicBezTo>
                  <a:cubicBezTo>
                    <a:pt x="195777" y="175812"/>
                    <a:pt x="182052" y="88722"/>
                    <a:pt x="156575" y="6810"/>
                  </a:cubicBezTo>
                  <a:lnTo>
                    <a:pt x="154082" y="0"/>
                  </a:lnTo>
                  <a:close/>
                </a:path>
              </a:pathLst>
            </a:custGeom>
            <a:solidFill>
              <a:schemeClr val="bg2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52" name="Freihandform: Form 54">
              <a:extLst>
                <a:ext uri="{FF2B5EF4-FFF2-40B4-BE49-F238E27FC236}">
                  <a16:creationId xmlns:a16="http://schemas.microsoft.com/office/drawing/2014/main" id="{549714C0-EAAE-42A2-43C1-D86EDD3FD356}"/>
                </a:ext>
              </a:extLst>
            </p:cNvPr>
            <p:cNvSpPr>
              <a:spLocks/>
            </p:cNvSpPr>
            <p:nvPr/>
          </p:nvSpPr>
          <p:spPr>
            <a:xfrm>
              <a:off x="10122756" y="3587242"/>
              <a:ext cx="545359" cy="396950"/>
            </a:xfrm>
            <a:custGeom>
              <a:avLst/>
              <a:gdLst>
                <a:gd name="connsiteX0" fmla="*/ 281151 w 545359"/>
                <a:gd name="connsiteY0" fmla="*/ 0 h 396950"/>
                <a:gd name="connsiteX1" fmla="*/ 331659 w 545359"/>
                <a:gd name="connsiteY1" fmla="*/ 41673 h 396950"/>
                <a:gd name="connsiteX2" fmla="*/ 518530 w 545359"/>
                <a:gd name="connsiteY2" fmla="*/ 318839 h 396950"/>
                <a:gd name="connsiteX3" fmla="*/ 545359 w 545359"/>
                <a:gd name="connsiteY3" fmla="*/ 392142 h 396950"/>
                <a:gd name="connsiteX4" fmla="*/ 538546 w 545359"/>
                <a:gd name="connsiteY4" fmla="*/ 389648 h 396950"/>
                <a:gd name="connsiteX5" fmla="*/ 279248 w 545359"/>
                <a:gd name="connsiteY5" fmla="*/ 350446 h 396950"/>
                <a:gd name="connsiteX6" fmla="*/ 19950 w 545359"/>
                <a:gd name="connsiteY6" fmla="*/ 389648 h 396950"/>
                <a:gd name="connsiteX7" fmla="*/ 0 w 545359"/>
                <a:gd name="connsiteY7" fmla="*/ 396950 h 396950"/>
                <a:gd name="connsiteX8" fmla="*/ 22021 w 545359"/>
                <a:gd name="connsiteY8" fmla="*/ 336785 h 396950"/>
                <a:gd name="connsiteX9" fmla="*/ 208892 w 545359"/>
                <a:gd name="connsiteY9" fmla="*/ 59619 h 396950"/>
                <a:gd name="connsiteX10" fmla="*/ 281151 w 545359"/>
                <a:gd name="connsiteY10" fmla="*/ 0 h 396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5359" h="396950">
                  <a:moveTo>
                    <a:pt x="281151" y="0"/>
                  </a:moveTo>
                  <a:lnTo>
                    <a:pt x="331659" y="41673"/>
                  </a:lnTo>
                  <a:cubicBezTo>
                    <a:pt x="410557" y="120571"/>
                    <a:pt x="474406" y="214518"/>
                    <a:pt x="518530" y="318839"/>
                  </a:cubicBezTo>
                  <a:lnTo>
                    <a:pt x="545359" y="392142"/>
                  </a:lnTo>
                  <a:lnTo>
                    <a:pt x="538546" y="389648"/>
                  </a:lnTo>
                  <a:cubicBezTo>
                    <a:pt x="456634" y="364171"/>
                    <a:pt x="369544" y="350446"/>
                    <a:pt x="279248" y="350446"/>
                  </a:cubicBezTo>
                  <a:cubicBezTo>
                    <a:pt x="188952" y="350446"/>
                    <a:pt x="101862" y="364171"/>
                    <a:pt x="19950" y="389648"/>
                  </a:cubicBezTo>
                  <a:lnTo>
                    <a:pt x="0" y="396950"/>
                  </a:lnTo>
                  <a:lnTo>
                    <a:pt x="22021" y="336785"/>
                  </a:lnTo>
                  <a:cubicBezTo>
                    <a:pt x="66145" y="232464"/>
                    <a:pt x="129994" y="138517"/>
                    <a:pt x="208892" y="59619"/>
                  </a:cubicBezTo>
                  <a:lnTo>
                    <a:pt x="281151" y="0"/>
                  </a:lnTo>
                  <a:close/>
                </a:path>
              </a:pathLst>
            </a:custGeom>
            <a:solidFill>
              <a:schemeClr val="accent2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53" name="Freihandform: Form 53">
              <a:extLst>
                <a:ext uri="{FF2B5EF4-FFF2-40B4-BE49-F238E27FC236}">
                  <a16:creationId xmlns:a16="http://schemas.microsoft.com/office/drawing/2014/main" id="{B97F7DCF-2FA6-1284-1E73-B2D0B0443EE6}"/>
                </a:ext>
              </a:extLst>
            </p:cNvPr>
            <p:cNvSpPr>
              <a:spLocks/>
            </p:cNvSpPr>
            <p:nvPr/>
          </p:nvSpPr>
          <p:spPr>
            <a:xfrm>
              <a:off x="10663307" y="3979384"/>
              <a:ext cx="396947" cy="545352"/>
            </a:xfrm>
            <a:custGeom>
              <a:avLst/>
              <a:gdLst>
                <a:gd name="connsiteX0" fmla="*/ 4808 w 396947"/>
                <a:gd name="connsiteY0" fmla="*/ 0 h 545352"/>
                <a:gd name="connsiteX1" fmla="*/ 78108 w 396947"/>
                <a:gd name="connsiteY1" fmla="*/ 26828 h 545352"/>
                <a:gd name="connsiteX2" fmla="*/ 355274 w 396947"/>
                <a:gd name="connsiteY2" fmla="*/ 213698 h 545352"/>
                <a:gd name="connsiteX3" fmla="*/ 396947 w 396947"/>
                <a:gd name="connsiteY3" fmla="*/ 264206 h 545352"/>
                <a:gd name="connsiteX4" fmla="*/ 337329 w 396947"/>
                <a:gd name="connsiteY4" fmla="*/ 336462 h 545352"/>
                <a:gd name="connsiteX5" fmla="*/ 60163 w 396947"/>
                <a:gd name="connsiteY5" fmla="*/ 523332 h 545352"/>
                <a:gd name="connsiteX6" fmla="*/ 0 w 396947"/>
                <a:gd name="connsiteY6" fmla="*/ 545352 h 545352"/>
                <a:gd name="connsiteX7" fmla="*/ 7301 w 396947"/>
                <a:gd name="connsiteY7" fmla="*/ 525404 h 545352"/>
                <a:gd name="connsiteX8" fmla="*/ 46503 w 396947"/>
                <a:gd name="connsiteY8" fmla="*/ 266107 h 545352"/>
                <a:gd name="connsiteX9" fmla="*/ 7301 w 396947"/>
                <a:gd name="connsiteY9" fmla="*/ 6810 h 545352"/>
                <a:gd name="connsiteX10" fmla="*/ 4808 w 396947"/>
                <a:gd name="connsiteY10" fmla="*/ 0 h 545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96947" h="545352">
                  <a:moveTo>
                    <a:pt x="4808" y="0"/>
                  </a:moveTo>
                  <a:lnTo>
                    <a:pt x="78108" y="26828"/>
                  </a:lnTo>
                  <a:cubicBezTo>
                    <a:pt x="182429" y="70952"/>
                    <a:pt x="276376" y="134800"/>
                    <a:pt x="355274" y="213698"/>
                  </a:cubicBezTo>
                  <a:lnTo>
                    <a:pt x="396947" y="264206"/>
                  </a:lnTo>
                  <a:lnTo>
                    <a:pt x="337329" y="336462"/>
                  </a:lnTo>
                  <a:cubicBezTo>
                    <a:pt x="258431" y="415360"/>
                    <a:pt x="164484" y="479208"/>
                    <a:pt x="60163" y="523332"/>
                  </a:cubicBezTo>
                  <a:lnTo>
                    <a:pt x="0" y="545352"/>
                  </a:lnTo>
                  <a:lnTo>
                    <a:pt x="7301" y="525404"/>
                  </a:lnTo>
                  <a:cubicBezTo>
                    <a:pt x="32778" y="443493"/>
                    <a:pt x="46503" y="356403"/>
                    <a:pt x="46503" y="266107"/>
                  </a:cubicBezTo>
                  <a:cubicBezTo>
                    <a:pt x="46503" y="175812"/>
                    <a:pt x="32778" y="88722"/>
                    <a:pt x="7301" y="6810"/>
                  </a:cubicBezTo>
                  <a:lnTo>
                    <a:pt x="4808" y="0"/>
                  </a:lnTo>
                  <a:close/>
                </a:path>
              </a:pathLst>
            </a:custGeom>
            <a:solidFill>
              <a:schemeClr val="accent2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54" name="Freihandform: Form 52">
              <a:extLst>
                <a:ext uri="{FF2B5EF4-FFF2-40B4-BE49-F238E27FC236}">
                  <a16:creationId xmlns:a16="http://schemas.microsoft.com/office/drawing/2014/main" id="{7A088B28-1906-D4A5-7115-061A6CC82037}"/>
                </a:ext>
              </a:extLst>
            </p:cNvPr>
            <p:cNvSpPr>
              <a:spLocks/>
            </p:cNvSpPr>
            <p:nvPr/>
          </p:nvSpPr>
          <p:spPr>
            <a:xfrm>
              <a:off x="9725809" y="3984192"/>
              <a:ext cx="396947" cy="545352"/>
            </a:xfrm>
            <a:custGeom>
              <a:avLst/>
              <a:gdLst>
                <a:gd name="connsiteX0" fmla="*/ 396947 w 396947"/>
                <a:gd name="connsiteY0" fmla="*/ 0 h 545352"/>
                <a:gd name="connsiteX1" fmla="*/ 389646 w 396947"/>
                <a:gd name="connsiteY1" fmla="*/ 19948 h 545352"/>
                <a:gd name="connsiteX2" fmla="*/ 350444 w 396947"/>
                <a:gd name="connsiteY2" fmla="*/ 279245 h 545352"/>
                <a:gd name="connsiteX3" fmla="*/ 389646 w 396947"/>
                <a:gd name="connsiteY3" fmla="*/ 538542 h 545352"/>
                <a:gd name="connsiteX4" fmla="*/ 392139 w 396947"/>
                <a:gd name="connsiteY4" fmla="*/ 545352 h 545352"/>
                <a:gd name="connsiteX5" fmla="*/ 318839 w 396947"/>
                <a:gd name="connsiteY5" fmla="*/ 518524 h 545352"/>
                <a:gd name="connsiteX6" fmla="*/ 41673 w 396947"/>
                <a:gd name="connsiteY6" fmla="*/ 331654 h 545352"/>
                <a:gd name="connsiteX7" fmla="*/ 0 w 396947"/>
                <a:gd name="connsiteY7" fmla="*/ 281147 h 545352"/>
                <a:gd name="connsiteX8" fmla="*/ 59618 w 396947"/>
                <a:gd name="connsiteY8" fmla="*/ 208890 h 545352"/>
                <a:gd name="connsiteX9" fmla="*/ 336784 w 396947"/>
                <a:gd name="connsiteY9" fmla="*/ 22020 h 545352"/>
                <a:gd name="connsiteX10" fmla="*/ 396947 w 396947"/>
                <a:gd name="connsiteY10" fmla="*/ 0 h 545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96947" h="545352">
                  <a:moveTo>
                    <a:pt x="396947" y="0"/>
                  </a:moveTo>
                  <a:lnTo>
                    <a:pt x="389646" y="19948"/>
                  </a:lnTo>
                  <a:cubicBezTo>
                    <a:pt x="364169" y="101860"/>
                    <a:pt x="350444" y="188950"/>
                    <a:pt x="350444" y="279245"/>
                  </a:cubicBezTo>
                  <a:cubicBezTo>
                    <a:pt x="350444" y="369541"/>
                    <a:pt x="364169" y="456631"/>
                    <a:pt x="389646" y="538542"/>
                  </a:cubicBezTo>
                  <a:lnTo>
                    <a:pt x="392139" y="545352"/>
                  </a:lnTo>
                  <a:lnTo>
                    <a:pt x="318839" y="518524"/>
                  </a:lnTo>
                  <a:cubicBezTo>
                    <a:pt x="214518" y="474400"/>
                    <a:pt x="120571" y="410552"/>
                    <a:pt x="41673" y="331654"/>
                  </a:cubicBezTo>
                  <a:lnTo>
                    <a:pt x="0" y="281147"/>
                  </a:lnTo>
                  <a:lnTo>
                    <a:pt x="59618" y="208890"/>
                  </a:lnTo>
                  <a:cubicBezTo>
                    <a:pt x="138516" y="129992"/>
                    <a:pt x="232463" y="66144"/>
                    <a:pt x="336784" y="22020"/>
                  </a:cubicBezTo>
                  <a:lnTo>
                    <a:pt x="396947" y="0"/>
                  </a:lnTo>
                  <a:close/>
                </a:path>
              </a:pathLst>
            </a:custGeom>
            <a:solidFill>
              <a:schemeClr val="accent2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55" name="Freihandform: Form 51">
              <a:extLst>
                <a:ext uri="{FF2B5EF4-FFF2-40B4-BE49-F238E27FC236}">
                  <a16:creationId xmlns:a16="http://schemas.microsoft.com/office/drawing/2014/main" id="{E6D4ADBE-7F36-0D94-3725-1FB3D9C663EE}"/>
                </a:ext>
              </a:extLst>
            </p:cNvPr>
            <p:cNvSpPr>
              <a:spLocks/>
            </p:cNvSpPr>
            <p:nvPr/>
          </p:nvSpPr>
          <p:spPr>
            <a:xfrm>
              <a:off x="10117948" y="4524736"/>
              <a:ext cx="545359" cy="396950"/>
            </a:xfrm>
            <a:custGeom>
              <a:avLst/>
              <a:gdLst>
                <a:gd name="connsiteX0" fmla="*/ 545359 w 545359"/>
                <a:gd name="connsiteY0" fmla="*/ 0 h 396950"/>
                <a:gd name="connsiteX1" fmla="*/ 523338 w 545359"/>
                <a:gd name="connsiteY1" fmla="*/ 60165 h 396950"/>
                <a:gd name="connsiteX2" fmla="*/ 336467 w 545359"/>
                <a:gd name="connsiteY2" fmla="*/ 337331 h 396950"/>
                <a:gd name="connsiteX3" fmla="*/ 264208 w 545359"/>
                <a:gd name="connsiteY3" fmla="*/ 396950 h 396950"/>
                <a:gd name="connsiteX4" fmla="*/ 213700 w 545359"/>
                <a:gd name="connsiteY4" fmla="*/ 355277 h 396950"/>
                <a:gd name="connsiteX5" fmla="*/ 26829 w 545359"/>
                <a:gd name="connsiteY5" fmla="*/ 78111 h 396950"/>
                <a:gd name="connsiteX6" fmla="*/ 0 w 545359"/>
                <a:gd name="connsiteY6" fmla="*/ 4808 h 396950"/>
                <a:gd name="connsiteX7" fmla="*/ 6813 w 545359"/>
                <a:gd name="connsiteY7" fmla="*/ 7302 h 396950"/>
                <a:gd name="connsiteX8" fmla="*/ 266111 w 545359"/>
                <a:gd name="connsiteY8" fmla="*/ 46504 h 396950"/>
                <a:gd name="connsiteX9" fmla="*/ 525409 w 545359"/>
                <a:gd name="connsiteY9" fmla="*/ 7302 h 396950"/>
                <a:gd name="connsiteX10" fmla="*/ 545359 w 545359"/>
                <a:gd name="connsiteY10" fmla="*/ 0 h 396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5359" h="396950">
                  <a:moveTo>
                    <a:pt x="545359" y="0"/>
                  </a:moveTo>
                  <a:lnTo>
                    <a:pt x="523338" y="60165"/>
                  </a:lnTo>
                  <a:cubicBezTo>
                    <a:pt x="479214" y="164486"/>
                    <a:pt x="415365" y="258433"/>
                    <a:pt x="336467" y="337331"/>
                  </a:cubicBezTo>
                  <a:lnTo>
                    <a:pt x="264208" y="396950"/>
                  </a:lnTo>
                  <a:lnTo>
                    <a:pt x="213700" y="355277"/>
                  </a:lnTo>
                  <a:cubicBezTo>
                    <a:pt x="134802" y="276379"/>
                    <a:pt x="70953" y="182432"/>
                    <a:pt x="26829" y="78111"/>
                  </a:cubicBezTo>
                  <a:lnTo>
                    <a:pt x="0" y="4808"/>
                  </a:lnTo>
                  <a:lnTo>
                    <a:pt x="6813" y="7302"/>
                  </a:lnTo>
                  <a:cubicBezTo>
                    <a:pt x="88725" y="32779"/>
                    <a:pt x="175815" y="46504"/>
                    <a:pt x="266111" y="46504"/>
                  </a:cubicBezTo>
                  <a:cubicBezTo>
                    <a:pt x="356407" y="46504"/>
                    <a:pt x="443497" y="32779"/>
                    <a:pt x="525409" y="7302"/>
                  </a:cubicBezTo>
                  <a:lnTo>
                    <a:pt x="545359" y="0"/>
                  </a:lnTo>
                  <a:close/>
                </a:path>
              </a:pathLst>
            </a:custGeom>
            <a:solidFill>
              <a:schemeClr val="accent2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56" name="Freihandform: Form 50">
              <a:extLst>
                <a:ext uri="{FF2B5EF4-FFF2-40B4-BE49-F238E27FC236}">
                  <a16:creationId xmlns:a16="http://schemas.microsoft.com/office/drawing/2014/main" id="{02A93D21-C12E-017B-D0B7-2D5CE7CA3B09}"/>
                </a:ext>
              </a:extLst>
            </p:cNvPr>
            <p:cNvSpPr>
              <a:spLocks/>
            </p:cNvSpPr>
            <p:nvPr/>
          </p:nvSpPr>
          <p:spPr>
            <a:xfrm>
              <a:off x="9571727" y="4921686"/>
              <a:ext cx="1655746" cy="759942"/>
            </a:xfrm>
            <a:custGeom>
              <a:avLst/>
              <a:gdLst>
                <a:gd name="connsiteX0" fmla="*/ 810429 w 1655746"/>
                <a:gd name="connsiteY0" fmla="*/ 0 h 759942"/>
                <a:gd name="connsiteX1" fmla="*/ 888970 w 1655746"/>
                <a:gd name="connsiteY1" fmla="*/ 64802 h 759942"/>
                <a:gd name="connsiteX2" fmla="*/ 1376498 w 1655746"/>
                <a:gd name="connsiteY2" fmla="*/ 213721 h 759942"/>
                <a:gd name="connsiteX3" fmla="*/ 1635796 w 1655746"/>
                <a:gd name="connsiteY3" fmla="*/ 174519 h 759942"/>
                <a:gd name="connsiteX4" fmla="*/ 1655746 w 1655746"/>
                <a:gd name="connsiteY4" fmla="*/ 167217 h 759942"/>
                <a:gd name="connsiteX5" fmla="*/ 1633725 w 1655746"/>
                <a:gd name="connsiteY5" fmla="*/ 227382 h 759942"/>
                <a:gd name="connsiteX6" fmla="*/ 830277 w 1655746"/>
                <a:gd name="connsiteY6" fmla="*/ 759942 h 759942"/>
                <a:gd name="connsiteX7" fmla="*/ 26829 w 1655746"/>
                <a:gd name="connsiteY7" fmla="*/ 227382 h 759942"/>
                <a:gd name="connsiteX8" fmla="*/ 0 w 1655746"/>
                <a:gd name="connsiteY8" fmla="*/ 154079 h 759942"/>
                <a:gd name="connsiteX9" fmla="*/ 6813 w 1655746"/>
                <a:gd name="connsiteY9" fmla="*/ 156573 h 759942"/>
                <a:gd name="connsiteX10" fmla="*/ 266111 w 1655746"/>
                <a:gd name="connsiteY10" fmla="*/ 195775 h 759942"/>
                <a:gd name="connsiteX11" fmla="*/ 753639 w 1655746"/>
                <a:gd name="connsiteY11" fmla="*/ 46856 h 759942"/>
                <a:gd name="connsiteX12" fmla="*/ 810429 w 1655746"/>
                <a:gd name="connsiteY12" fmla="*/ 0 h 759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655746" h="759942">
                  <a:moveTo>
                    <a:pt x="810429" y="0"/>
                  </a:moveTo>
                  <a:lnTo>
                    <a:pt x="888970" y="64802"/>
                  </a:lnTo>
                  <a:cubicBezTo>
                    <a:pt x="1028138" y="158822"/>
                    <a:pt x="1195907" y="213721"/>
                    <a:pt x="1376498" y="213721"/>
                  </a:cubicBezTo>
                  <a:cubicBezTo>
                    <a:pt x="1466794" y="213721"/>
                    <a:pt x="1553884" y="199996"/>
                    <a:pt x="1635796" y="174519"/>
                  </a:cubicBezTo>
                  <a:lnTo>
                    <a:pt x="1655746" y="167217"/>
                  </a:lnTo>
                  <a:lnTo>
                    <a:pt x="1633725" y="227382"/>
                  </a:lnTo>
                  <a:cubicBezTo>
                    <a:pt x="1501353" y="540346"/>
                    <a:pt x="1191460" y="759942"/>
                    <a:pt x="830277" y="759942"/>
                  </a:cubicBezTo>
                  <a:cubicBezTo>
                    <a:pt x="469094" y="759942"/>
                    <a:pt x="159201" y="540346"/>
                    <a:pt x="26829" y="227382"/>
                  </a:cubicBezTo>
                  <a:lnTo>
                    <a:pt x="0" y="154079"/>
                  </a:lnTo>
                  <a:lnTo>
                    <a:pt x="6813" y="156573"/>
                  </a:lnTo>
                  <a:cubicBezTo>
                    <a:pt x="88725" y="182050"/>
                    <a:pt x="175815" y="195775"/>
                    <a:pt x="266111" y="195775"/>
                  </a:cubicBezTo>
                  <a:cubicBezTo>
                    <a:pt x="446702" y="195775"/>
                    <a:pt x="614471" y="140876"/>
                    <a:pt x="753639" y="46856"/>
                  </a:cubicBezTo>
                  <a:lnTo>
                    <a:pt x="810429" y="0"/>
                  </a:lnTo>
                  <a:close/>
                </a:path>
              </a:pathLst>
            </a:custGeom>
            <a:solidFill>
              <a:schemeClr val="bg2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57" name="Textfeld 64">
              <a:extLst>
                <a:ext uri="{FF2B5EF4-FFF2-40B4-BE49-F238E27FC236}">
                  <a16:creationId xmlns:a16="http://schemas.microsoft.com/office/drawing/2014/main" id="{440315A7-8859-6C47-E02D-7054F1B9EB75}"/>
                </a:ext>
              </a:extLst>
            </p:cNvPr>
            <p:cNvSpPr txBox="1">
              <a:spLocks/>
            </p:cNvSpPr>
            <p:nvPr/>
          </p:nvSpPr>
          <p:spPr>
            <a:xfrm>
              <a:off x="9925600" y="3111700"/>
              <a:ext cx="921727" cy="191143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none" lIns="0" tIns="0" rIns="0" bIns="0" rtlCol="0" anchor="ctr">
              <a:spAutoFit/>
            </a:bodyPr>
            <a:lstStyle/>
            <a:p>
              <a:pPr lvl="0" algn="ctr">
                <a:lnSpc>
                  <a:spcPct val="95000"/>
                </a:lnSpc>
                <a:spcBef>
                  <a:spcPts val="400"/>
                </a:spcBef>
                <a:buClr>
                  <a:srgbClr val="1A7449"/>
                </a:buClr>
                <a:buSzPct val="80000"/>
                <a:defRPr/>
              </a:pPr>
              <a:r>
                <a:rPr lang="en-US" altLang="zh-CN" sz="1300" dirty="0">
                  <a:solidFill>
                    <a:srgbClr val="575757"/>
                  </a:solidFill>
                  <a:ea typeface="Verdana" pitchFamily="34" charset="0"/>
                  <a:cs typeface="Verdana" pitchFamily="34" charset="0"/>
                </a:rPr>
                <a:t>{bulklet_12}</a:t>
              </a:r>
            </a:p>
          </p:txBody>
        </p:sp>
        <p:sp>
          <p:nvSpPr>
            <p:cNvPr id="58" name="Textfeld 65">
              <a:extLst>
                <a:ext uri="{FF2B5EF4-FFF2-40B4-BE49-F238E27FC236}">
                  <a16:creationId xmlns:a16="http://schemas.microsoft.com/office/drawing/2014/main" id="{A4D1E194-FB44-E6AC-8845-006DCDC8A992}"/>
                </a:ext>
              </a:extLst>
            </p:cNvPr>
            <p:cNvSpPr txBox="1">
              <a:spLocks/>
            </p:cNvSpPr>
            <p:nvPr/>
          </p:nvSpPr>
          <p:spPr>
            <a:xfrm>
              <a:off x="9937935" y="5206086"/>
              <a:ext cx="923331" cy="191143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none" lIns="0" tIns="0" rIns="0" bIns="0" rtlCol="0" anchor="ctr">
              <a:spAutoFit/>
            </a:bodyPr>
            <a:lstStyle/>
            <a:p>
              <a:pPr lvl="0" algn="ctr">
                <a:lnSpc>
                  <a:spcPct val="95000"/>
                </a:lnSpc>
                <a:spcBef>
                  <a:spcPts val="400"/>
                </a:spcBef>
                <a:buClr>
                  <a:srgbClr val="1A7449"/>
                </a:buClr>
                <a:buSzPct val="80000"/>
                <a:defRPr/>
              </a:pPr>
              <a:r>
                <a:rPr lang="en-US" altLang="zh-CN" sz="1300" dirty="0">
                  <a:solidFill>
                    <a:srgbClr val="575757"/>
                  </a:solidFill>
                  <a:ea typeface="Verdana" pitchFamily="34" charset="0"/>
                  <a:cs typeface="Verdana" pitchFamily="34" charset="0"/>
                </a:rPr>
                <a:t>{bulklet_15}</a:t>
              </a:r>
            </a:p>
          </p:txBody>
        </p:sp>
        <p:sp>
          <p:nvSpPr>
            <p:cNvPr id="59" name="Textfeld 66">
              <a:extLst>
                <a:ext uri="{FF2B5EF4-FFF2-40B4-BE49-F238E27FC236}">
                  <a16:creationId xmlns:a16="http://schemas.microsoft.com/office/drawing/2014/main" id="{75B81C2C-893E-94F0-B488-C90115AA78C9}"/>
                </a:ext>
              </a:extLst>
            </p:cNvPr>
            <p:cNvSpPr txBox="1">
              <a:spLocks/>
            </p:cNvSpPr>
            <p:nvPr/>
          </p:nvSpPr>
          <p:spPr>
            <a:xfrm>
              <a:off x="8885776" y="4152324"/>
              <a:ext cx="920124" cy="191143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none" lIns="0" tIns="0" rIns="0" bIns="0" rtlCol="0" anchor="ctr">
              <a:spAutoFit/>
            </a:bodyPr>
            <a:lstStyle/>
            <a:p>
              <a:pPr lvl="0" algn="ctr">
                <a:lnSpc>
                  <a:spcPct val="95000"/>
                </a:lnSpc>
                <a:spcBef>
                  <a:spcPts val="400"/>
                </a:spcBef>
                <a:buClr>
                  <a:srgbClr val="1A7449"/>
                </a:buClr>
                <a:buSzPct val="80000"/>
                <a:defRPr/>
              </a:pPr>
              <a:r>
                <a:rPr lang="en-US" altLang="zh-CN" sz="1300" dirty="0">
                  <a:solidFill>
                    <a:srgbClr val="575757"/>
                  </a:solidFill>
                  <a:ea typeface="Verdana" pitchFamily="34" charset="0"/>
                  <a:cs typeface="Verdana" pitchFamily="34" charset="0"/>
                </a:rPr>
                <a:t>{bulklet_13}</a:t>
              </a:r>
            </a:p>
          </p:txBody>
        </p:sp>
        <p:sp>
          <p:nvSpPr>
            <p:cNvPr id="60" name="Textfeld 67">
              <a:extLst>
                <a:ext uri="{FF2B5EF4-FFF2-40B4-BE49-F238E27FC236}">
                  <a16:creationId xmlns:a16="http://schemas.microsoft.com/office/drawing/2014/main" id="{F68A9958-3EAF-1FE3-F4FC-DD51A05F0AAA}"/>
                </a:ext>
              </a:extLst>
            </p:cNvPr>
            <p:cNvSpPr txBox="1">
              <a:spLocks/>
            </p:cNvSpPr>
            <p:nvPr/>
          </p:nvSpPr>
          <p:spPr>
            <a:xfrm>
              <a:off x="10977758" y="4165462"/>
              <a:ext cx="924933" cy="191143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none" lIns="0" tIns="0" rIns="0" bIns="0" rtlCol="0" anchor="ctr">
              <a:spAutoFit/>
            </a:bodyPr>
            <a:lstStyle/>
            <a:p>
              <a:pPr algn="ctr">
                <a:lnSpc>
                  <a:spcPct val="95000"/>
                </a:lnSpc>
                <a:spcBef>
                  <a:spcPts val="400"/>
                </a:spcBef>
                <a:buClr>
                  <a:srgbClr val="1A7449"/>
                </a:buClr>
                <a:buSzPct val="80000"/>
              </a:pPr>
              <a:r>
                <a:rPr lang="en-US" altLang="zh-CN" sz="1300" dirty="0">
                  <a:solidFill>
                    <a:srgbClr val="575757"/>
                  </a:solidFill>
                  <a:ea typeface="Verdana" pitchFamily="34" charset="0"/>
                  <a:cs typeface="Verdana" pitchFamily="34" charset="0"/>
                </a:rPr>
                <a:t>{bulklet_14}</a:t>
              </a:r>
            </a:p>
          </p:txBody>
        </p:sp>
        <p:sp>
          <p:nvSpPr>
            <p:cNvPr id="61" name="Textfeld 68">
              <a:extLst>
                <a:ext uri="{FF2B5EF4-FFF2-40B4-BE49-F238E27FC236}">
                  <a16:creationId xmlns:a16="http://schemas.microsoft.com/office/drawing/2014/main" id="{D559463D-F908-97C8-899C-5E2DB226C3E5}"/>
                </a:ext>
              </a:extLst>
            </p:cNvPr>
            <p:cNvSpPr txBox="1">
              <a:spLocks/>
            </p:cNvSpPr>
            <p:nvPr/>
          </p:nvSpPr>
          <p:spPr>
            <a:xfrm>
              <a:off x="9932168" y="4158893"/>
              <a:ext cx="921727" cy="191143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none" lIns="0" tIns="0" rIns="0" bIns="0" rtlCol="0" anchor="ctr">
              <a:spAutoFit/>
            </a:bodyPr>
            <a:lstStyle/>
            <a:p>
              <a:pPr lvl="0" algn="ctr">
                <a:lnSpc>
                  <a:spcPct val="95000"/>
                </a:lnSpc>
                <a:spcBef>
                  <a:spcPts val="400"/>
                </a:spcBef>
                <a:buClr>
                  <a:srgbClr val="1A7449"/>
                </a:buClr>
                <a:buSzPct val="80000"/>
                <a:defRPr/>
              </a:pPr>
              <a:r>
                <a:rPr lang="en-US" altLang="zh-CN" sz="1300" dirty="0">
                  <a:solidFill>
                    <a:srgbClr val="575757"/>
                  </a:solidFill>
                  <a:ea typeface="Verdana" pitchFamily="34" charset="0"/>
                  <a:cs typeface="Verdana" pitchFamily="34" charset="0"/>
                </a:rPr>
                <a:t>{bulklet_16}</a:t>
              </a:r>
            </a:p>
          </p:txBody>
        </p:sp>
      </p:grpSp>
      <p:grpSp>
        <p:nvGrpSpPr>
          <p:cNvPr id="62" name="Gruppieren 38">
            <a:extLst>
              <a:ext uri="{FF2B5EF4-FFF2-40B4-BE49-F238E27FC236}">
                <a16:creationId xmlns:a16="http://schemas.microsoft.com/office/drawing/2014/main" id="{082A7A5F-7BAA-8D3C-6537-510491985E9E}"/>
              </a:ext>
            </a:extLst>
          </p:cNvPr>
          <p:cNvGrpSpPr>
            <a:grpSpLocks/>
          </p:cNvGrpSpPr>
          <p:nvPr/>
        </p:nvGrpSpPr>
        <p:grpSpPr>
          <a:xfrm>
            <a:off x="8598620" y="1543833"/>
            <a:ext cx="3201560" cy="3201560"/>
            <a:chOff x="8944141" y="1348019"/>
            <a:chExt cx="2743990" cy="2743990"/>
          </a:xfrm>
        </p:grpSpPr>
        <p:grpSp>
          <p:nvGrpSpPr>
            <p:cNvPr id="63" name="Gruppieren 63">
              <a:extLst>
                <a:ext uri="{FF2B5EF4-FFF2-40B4-BE49-F238E27FC236}">
                  <a16:creationId xmlns:a16="http://schemas.microsoft.com/office/drawing/2014/main" id="{B59EC098-FC60-A27B-9B77-3F2962DEA928}"/>
                </a:ext>
              </a:extLst>
            </p:cNvPr>
            <p:cNvGrpSpPr>
              <a:grpSpLocks/>
            </p:cNvGrpSpPr>
            <p:nvPr/>
          </p:nvGrpSpPr>
          <p:grpSpPr>
            <a:xfrm>
              <a:off x="8944141" y="1348019"/>
              <a:ext cx="2743990" cy="2743990"/>
              <a:chOff x="2557864" y="3564736"/>
              <a:chExt cx="2743990" cy="2743990"/>
            </a:xfrm>
          </p:grpSpPr>
          <p:sp>
            <p:nvSpPr>
              <p:cNvPr id="68" name="Freihandform: Form 73">
                <a:extLst>
                  <a:ext uri="{FF2B5EF4-FFF2-40B4-BE49-F238E27FC236}">
                    <a16:creationId xmlns:a16="http://schemas.microsoft.com/office/drawing/2014/main" id="{F7D8F5D3-4C65-D9B3-F9BE-853D47B2373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43788" y="3564736"/>
                <a:ext cx="1375579" cy="1317292"/>
              </a:xfrm>
              <a:custGeom>
                <a:avLst/>
                <a:gdLst>
                  <a:gd name="connsiteX0" fmla="*/ 1280552 w 1280443"/>
                  <a:gd name="connsiteY0" fmla="*/ 638485 h 1226187"/>
                  <a:gd name="connsiteX1" fmla="*/ 1278761 w 1280443"/>
                  <a:gd name="connsiteY1" fmla="*/ 638485 h 1226187"/>
                  <a:gd name="connsiteX2" fmla="*/ 640276 w 1280443"/>
                  <a:gd name="connsiteY2" fmla="*/ 1229497 h 1226187"/>
                  <a:gd name="connsiteX3" fmla="*/ 1790 w 1280443"/>
                  <a:gd name="connsiteY3" fmla="*/ 638485 h 1226187"/>
                  <a:gd name="connsiteX4" fmla="*/ 0 w 1280443"/>
                  <a:gd name="connsiteY4" fmla="*/ 638485 h 1226187"/>
                  <a:gd name="connsiteX5" fmla="*/ 640276 w 1280443"/>
                  <a:gd name="connsiteY5" fmla="*/ 0 h 1226187"/>
                  <a:gd name="connsiteX6" fmla="*/ 1280552 w 1280443"/>
                  <a:gd name="connsiteY6" fmla="*/ 638485 h 12261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80443" h="1226187">
                    <a:moveTo>
                      <a:pt x="1280552" y="638485"/>
                    </a:moveTo>
                    <a:lnTo>
                      <a:pt x="1278761" y="638485"/>
                    </a:lnTo>
                    <a:cubicBezTo>
                      <a:pt x="941723" y="638485"/>
                      <a:pt x="665451" y="898860"/>
                      <a:pt x="640276" y="1229497"/>
                    </a:cubicBezTo>
                    <a:cubicBezTo>
                      <a:pt x="615101" y="898860"/>
                      <a:pt x="338829" y="638485"/>
                      <a:pt x="1790" y="638485"/>
                    </a:cubicBezTo>
                    <a:lnTo>
                      <a:pt x="0" y="638485"/>
                    </a:lnTo>
                    <a:cubicBezTo>
                      <a:pt x="977" y="285712"/>
                      <a:pt x="287232" y="0"/>
                      <a:pt x="640276" y="0"/>
                    </a:cubicBezTo>
                    <a:cubicBezTo>
                      <a:pt x="993320" y="0"/>
                      <a:pt x="1279575" y="285712"/>
                      <a:pt x="1280552" y="638485"/>
                    </a:cubicBezTo>
                    <a:close/>
                  </a:path>
                </a:pathLst>
              </a:custGeom>
              <a:solidFill>
                <a:schemeClr val="bg2"/>
              </a:solidFill>
              <a:ln w="3810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endParaRPr>
              </a:p>
            </p:txBody>
          </p:sp>
          <p:sp>
            <p:nvSpPr>
              <p:cNvPr id="69" name="Freihandform: Form 74">
                <a:extLst>
                  <a:ext uri="{FF2B5EF4-FFF2-40B4-BE49-F238E27FC236}">
                    <a16:creationId xmlns:a16="http://schemas.microsoft.com/office/drawing/2014/main" id="{D3F9C684-E3AD-17E9-F8DE-8212F52E672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878712" y="4885584"/>
                <a:ext cx="104918" cy="52458"/>
              </a:xfrm>
              <a:custGeom>
                <a:avLst/>
                <a:gdLst>
                  <a:gd name="connsiteX0" fmla="*/ 98529 w 97660"/>
                  <a:gd name="connsiteY0" fmla="*/ 49265 h 48830"/>
                  <a:gd name="connsiteX1" fmla="*/ 51109 w 97660"/>
                  <a:gd name="connsiteY1" fmla="*/ 51109 h 48830"/>
                  <a:gd name="connsiteX2" fmla="*/ 47420 w 97660"/>
                  <a:gd name="connsiteY2" fmla="*/ 51109 h 48830"/>
                  <a:gd name="connsiteX3" fmla="*/ 0 w 97660"/>
                  <a:gd name="connsiteY3" fmla="*/ 49265 h 48830"/>
                  <a:gd name="connsiteX4" fmla="*/ 47420 w 97660"/>
                  <a:gd name="connsiteY4" fmla="*/ 47420 h 48830"/>
                  <a:gd name="connsiteX5" fmla="*/ 49265 w 97660"/>
                  <a:gd name="connsiteY5" fmla="*/ 0 h 48830"/>
                  <a:gd name="connsiteX6" fmla="*/ 51109 w 97660"/>
                  <a:gd name="connsiteY6" fmla="*/ 47420 h 48830"/>
                  <a:gd name="connsiteX7" fmla="*/ 98529 w 97660"/>
                  <a:gd name="connsiteY7" fmla="*/ 49265 h 488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7660" h="48830">
                    <a:moveTo>
                      <a:pt x="98529" y="49265"/>
                    </a:moveTo>
                    <a:cubicBezTo>
                      <a:pt x="82849" y="50458"/>
                      <a:pt x="67061" y="51055"/>
                      <a:pt x="51109" y="51109"/>
                    </a:cubicBezTo>
                    <a:lnTo>
                      <a:pt x="47420" y="51109"/>
                    </a:lnTo>
                    <a:cubicBezTo>
                      <a:pt x="31469" y="51055"/>
                      <a:pt x="15680" y="50458"/>
                      <a:pt x="0" y="49265"/>
                    </a:cubicBezTo>
                    <a:cubicBezTo>
                      <a:pt x="15680" y="48071"/>
                      <a:pt x="31469" y="47474"/>
                      <a:pt x="47420" y="47420"/>
                    </a:cubicBezTo>
                    <a:cubicBezTo>
                      <a:pt x="47474" y="31469"/>
                      <a:pt x="48071" y="15680"/>
                      <a:pt x="49265" y="0"/>
                    </a:cubicBezTo>
                    <a:cubicBezTo>
                      <a:pt x="50458" y="15680"/>
                      <a:pt x="51055" y="31469"/>
                      <a:pt x="51109" y="47420"/>
                    </a:cubicBezTo>
                    <a:cubicBezTo>
                      <a:pt x="67061" y="47474"/>
                      <a:pt x="82849" y="48071"/>
                      <a:pt x="98529" y="49265"/>
                    </a:cubicBezTo>
                    <a:close/>
                  </a:path>
                </a:pathLst>
              </a:custGeom>
              <a:solidFill>
                <a:srgbClr val="000000"/>
              </a:solidFill>
              <a:ln w="3810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endParaRPr>
              </a:p>
            </p:txBody>
          </p:sp>
          <p:sp>
            <p:nvSpPr>
              <p:cNvPr id="70" name="Freihandform: Form 75">
                <a:extLst>
                  <a:ext uri="{FF2B5EF4-FFF2-40B4-BE49-F238E27FC236}">
                    <a16:creationId xmlns:a16="http://schemas.microsoft.com/office/drawing/2014/main" id="{EC26B29E-480C-3B95-92CC-0C49530C938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43788" y="4991434"/>
                <a:ext cx="1375579" cy="1317292"/>
              </a:xfrm>
              <a:custGeom>
                <a:avLst/>
                <a:gdLst>
                  <a:gd name="connsiteX0" fmla="*/ 1280552 w 1280443"/>
                  <a:gd name="connsiteY0" fmla="*/ 591011 h 1226187"/>
                  <a:gd name="connsiteX1" fmla="*/ 640276 w 1280443"/>
                  <a:gd name="connsiteY1" fmla="*/ 1229497 h 1226187"/>
                  <a:gd name="connsiteX2" fmla="*/ 0 w 1280443"/>
                  <a:gd name="connsiteY2" fmla="*/ 591011 h 1226187"/>
                  <a:gd name="connsiteX3" fmla="*/ 1790 w 1280443"/>
                  <a:gd name="connsiteY3" fmla="*/ 591011 h 1226187"/>
                  <a:gd name="connsiteX4" fmla="*/ 640276 w 1280443"/>
                  <a:gd name="connsiteY4" fmla="*/ 0 h 1226187"/>
                  <a:gd name="connsiteX5" fmla="*/ 1278761 w 1280443"/>
                  <a:gd name="connsiteY5" fmla="*/ 591011 h 1226187"/>
                  <a:gd name="connsiteX6" fmla="*/ 1280552 w 1280443"/>
                  <a:gd name="connsiteY6" fmla="*/ 591011 h 12261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80443" h="1226187">
                    <a:moveTo>
                      <a:pt x="1280552" y="591011"/>
                    </a:moveTo>
                    <a:cubicBezTo>
                      <a:pt x="1279575" y="943784"/>
                      <a:pt x="993320" y="1229497"/>
                      <a:pt x="640276" y="1229497"/>
                    </a:cubicBezTo>
                    <a:cubicBezTo>
                      <a:pt x="287232" y="1229497"/>
                      <a:pt x="977" y="943784"/>
                      <a:pt x="0" y="591011"/>
                    </a:cubicBezTo>
                    <a:lnTo>
                      <a:pt x="1790" y="591011"/>
                    </a:lnTo>
                    <a:cubicBezTo>
                      <a:pt x="338829" y="591011"/>
                      <a:pt x="615101" y="330636"/>
                      <a:pt x="640276" y="0"/>
                    </a:cubicBezTo>
                    <a:cubicBezTo>
                      <a:pt x="665451" y="330636"/>
                      <a:pt x="941723" y="591011"/>
                      <a:pt x="1278761" y="591011"/>
                    </a:cubicBezTo>
                    <a:lnTo>
                      <a:pt x="1280552" y="591011"/>
                    </a:lnTo>
                    <a:close/>
                  </a:path>
                </a:pathLst>
              </a:custGeom>
              <a:solidFill>
                <a:schemeClr val="bg2"/>
              </a:solidFill>
              <a:ln w="3810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endParaRPr>
              </a:p>
            </p:txBody>
          </p:sp>
          <p:sp>
            <p:nvSpPr>
              <p:cNvPr id="71" name="Freihandform: Form 76">
                <a:extLst>
                  <a:ext uri="{FF2B5EF4-FFF2-40B4-BE49-F238E27FC236}">
                    <a16:creationId xmlns:a16="http://schemas.microsoft.com/office/drawing/2014/main" id="{76618129-C3A1-271A-6C55-6B22702FA84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878712" y="4936527"/>
                <a:ext cx="104918" cy="52458"/>
              </a:xfrm>
              <a:custGeom>
                <a:avLst/>
                <a:gdLst>
                  <a:gd name="connsiteX0" fmla="*/ 98529 w 97660"/>
                  <a:gd name="connsiteY0" fmla="*/ 1845 h 48830"/>
                  <a:gd name="connsiteX1" fmla="*/ 51109 w 97660"/>
                  <a:gd name="connsiteY1" fmla="*/ 3689 h 48830"/>
                  <a:gd name="connsiteX2" fmla="*/ 49265 w 97660"/>
                  <a:gd name="connsiteY2" fmla="*/ 51109 h 48830"/>
                  <a:gd name="connsiteX3" fmla="*/ 47420 w 97660"/>
                  <a:gd name="connsiteY3" fmla="*/ 3689 h 48830"/>
                  <a:gd name="connsiteX4" fmla="*/ 0 w 97660"/>
                  <a:gd name="connsiteY4" fmla="*/ 1845 h 48830"/>
                  <a:gd name="connsiteX5" fmla="*/ 47420 w 97660"/>
                  <a:gd name="connsiteY5" fmla="*/ 0 h 48830"/>
                  <a:gd name="connsiteX6" fmla="*/ 51109 w 97660"/>
                  <a:gd name="connsiteY6" fmla="*/ 0 h 48830"/>
                  <a:gd name="connsiteX7" fmla="*/ 98529 w 97660"/>
                  <a:gd name="connsiteY7" fmla="*/ 1845 h 488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7660" h="48830">
                    <a:moveTo>
                      <a:pt x="98529" y="1845"/>
                    </a:moveTo>
                    <a:cubicBezTo>
                      <a:pt x="82849" y="3038"/>
                      <a:pt x="67061" y="3635"/>
                      <a:pt x="51109" y="3689"/>
                    </a:cubicBezTo>
                    <a:cubicBezTo>
                      <a:pt x="51055" y="19641"/>
                      <a:pt x="50458" y="35429"/>
                      <a:pt x="49265" y="51109"/>
                    </a:cubicBezTo>
                    <a:cubicBezTo>
                      <a:pt x="48071" y="35429"/>
                      <a:pt x="47474" y="19641"/>
                      <a:pt x="47420" y="3689"/>
                    </a:cubicBezTo>
                    <a:cubicBezTo>
                      <a:pt x="31469" y="3635"/>
                      <a:pt x="15680" y="3038"/>
                      <a:pt x="0" y="1845"/>
                    </a:cubicBezTo>
                    <a:cubicBezTo>
                      <a:pt x="15680" y="651"/>
                      <a:pt x="31469" y="54"/>
                      <a:pt x="47420" y="0"/>
                    </a:cubicBezTo>
                    <a:lnTo>
                      <a:pt x="51109" y="0"/>
                    </a:lnTo>
                    <a:cubicBezTo>
                      <a:pt x="67061" y="54"/>
                      <a:pt x="82849" y="651"/>
                      <a:pt x="98529" y="1845"/>
                    </a:cubicBezTo>
                    <a:close/>
                  </a:path>
                </a:pathLst>
              </a:custGeom>
              <a:solidFill>
                <a:srgbClr val="000000"/>
              </a:solidFill>
              <a:ln w="3810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endParaRPr>
              </a:p>
            </p:txBody>
          </p:sp>
          <p:sp>
            <p:nvSpPr>
              <p:cNvPr id="72" name="Freihandform: Form 77">
                <a:extLst>
                  <a:ext uri="{FF2B5EF4-FFF2-40B4-BE49-F238E27FC236}">
                    <a16:creationId xmlns:a16="http://schemas.microsoft.com/office/drawing/2014/main" id="{D0675E0D-E634-BCE6-09AA-3AC900689D4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931636" y="4250660"/>
                <a:ext cx="687790" cy="687790"/>
              </a:xfrm>
              <a:custGeom>
                <a:avLst/>
                <a:gdLst>
                  <a:gd name="connsiteX0" fmla="*/ 640276 w 640221"/>
                  <a:gd name="connsiteY0" fmla="*/ 0 h 640221"/>
                  <a:gd name="connsiteX1" fmla="*/ 640276 w 640221"/>
                  <a:gd name="connsiteY1" fmla="*/ 1790 h 640221"/>
                  <a:gd name="connsiteX2" fmla="*/ 49265 w 640221"/>
                  <a:gd name="connsiteY2" fmla="*/ 640276 h 640221"/>
                  <a:gd name="connsiteX3" fmla="*/ 1845 w 640221"/>
                  <a:gd name="connsiteY3" fmla="*/ 638431 h 640221"/>
                  <a:gd name="connsiteX4" fmla="*/ 0 w 640221"/>
                  <a:gd name="connsiteY4" fmla="*/ 591011 h 640221"/>
                  <a:gd name="connsiteX5" fmla="*/ 638485 w 640221"/>
                  <a:gd name="connsiteY5" fmla="*/ 0 h 640221"/>
                  <a:gd name="connsiteX6" fmla="*/ 640276 w 640221"/>
                  <a:gd name="connsiteY6" fmla="*/ 0 h 640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40221" h="640221">
                    <a:moveTo>
                      <a:pt x="640276" y="0"/>
                    </a:moveTo>
                    <a:lnTo>
                      <a:pt x="640276" y="1790"/>
                    </a:lnTo>
                    <a:cubicBezTo>
                      <a:pt x="640276" y="338829"/>
                      <a:pt x="379901" y="615101"/>
                      <a:pt x="49265" y="640276"/>
                    </a:cubicBezTo>
                    <a:cubicBezTo>
                      <a:pt x="33585" y="639082"/>
                      <a:pt x="17796" y="638485"/>
                      <a:pt x="1845" y="638431"/>
                    </a:cubicBezTo>
                    <a:cubicBezTo>
                      <a:pt x="1790" y="622480"/>
                      <a:pt x="1194" y="606691"/>
                      <a:pt x="0" y="591011"/>
                    </a:cubicBezTo>
                    <a:cubicBezTo>
                      <a:pt x="25175" y="260375"/>
                      <a:pt x="301447" y="0"/>
                      <a:pt x="638485" y="0"/>
                    </a:cubicBezTo>
                    <a:lnTo>
                      <a:pt x="640276" y="0"/>
                    </a:lnTo>
                    <a:close/>
                  </a:path>
                </a:pathLst>
              </a:custGeom>
              <a:solidFill>
                <a:schemeClr val="accent1"/>
              </a:solidFill>
              <a:ln w="3810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endParaRPr>
              </a:p>
            </p:txBody>
          </p:sp>
          <p:sp>
            <p:nvSpPr>
              <p:cNvPr id="73" name="Freihandform: Form 78">
                <a:extLst>
                  <a:ext uri="{FF2B5EF4-FFF2-40B4-BE49-F238E27FC236}">
                    <a16:creationId xmlns:a16="http://schemas.microsoft.com/office/drawing/2014/main" id="{4F057A68-CA3D-D63E-0F48-AB9D0A5D5A1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984562" y="4250660"/>
                <a:ext cx="1317292" cy="1375579"/>
              </a:xfrm>
              <a:custGeom>
                <a:avLst/>
                <a:gdLst>
                  <a:gd name="connsiteX0" fmla="*/ 1229497 w 1226187"/>
                  <a:gd name="connsiteY0" fmla="*/ 640276 h 1280443"/>
                  <a:gd name="connsiteX1" fmla="*/ 591011 w 1226187"/>
                  <a:gd name="connsiteY1" fmla="*/ 1280552 h 1280443"/>
                  <a:gd name="connsiteX2" fmla="*/ 591011 w 1226187"/>
                  <a:gd name="connsiteY2" fmla="*/ 1278761 h 1280443"/>
                  <a:gd name="connsiteX3" fmla="*/ 0 w 1226187"/>
                  <a:gd name="connsiteY3" fmla="*/ 640276 h 1280443"/>
                  <a:gd name="connsiteX4" fmla="*/ 591011 w 1226187"/>
                  <a:gd name="connsiteY4" fmla="*/ 1790 h 1280443"/>
                  <a:gd name="connsiteX5" fmla="*/ 591011 w 1226187"/>
                  <a:gd name="connsiteY5" fmla="*/ 0 h 1280443"/>
                  <a:gd name="connsiteX6" fmla="*/ 1229497 w 1226187"/>
                  <a:gd name="connsiteY6" fmla="*/ 640276 h 12804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26187" h="1280443">
                    <a:moveTo>
                      <a:pt x="1229497" y="640276"/>
                    </a:moveTo>
                    <a:cubicBezTo>
                      <a:pt x="1229497" y="993320"/>
                      <a:pt x="943784" y="1279575"/>
                      <a:pt x="591011" y="1280552"/>
                    </a:cubicBezTo>
                    <a:lnTo>
                      <a:pt x="591011" y="1278761"/>
                    </a:lnTo>
                    <a:cubicBezTo>
                      <a:pt x="591011" y="941723"/>
                      <a:pt x="330636" y="665451"/>
                      <a:pt x="0" y="640276"/>
                    </a:cubicBezTo>
                    <a:cubicBezTo>
                      <a:pt x="330636" y="615101"/>
                      <a:pt x="591011" y="338829"/>
                      <a:pt x="591011" y="1790"/>
                    </a:cubicBezTo>
                    <a:lnTo>
                      <a:pt x="591011" y="0"/>
                    </a:lnTo>
                    <a:cubicBezTo>
                      <a:pt x="943784" y="977"/>
                      <a:pt x="1229497" y="287232"/>
                      <a:pt x="1229497" y="640276"/>
                    </a:cubicBezTo>
                    <a:close/>
                  </a:path>
                </a:pathLst>
              </a:custGeom>
              <a:solidFill>
                <a:schemeClr val="bg2"/>
              </a:solidFill>
              <a:ln w="3810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endParaRPr>
              </a:p>
            </p:txBody>
          </p:sp>
          <p:sp>
            <p:nvSpPr>
              <p:cNvPr id="74" name="Freihandform: Form 79">
                <a:extLst>
                  <a:ext uri="{FF2B5EF4-FFF2-40B4-BE49-F238E27FC236}">
                    <a16:creationId xmlns:a16="http://schemas.microsoft.com/office/drawing/2014/main" id="{D05CCE5C-DE60-4CB5-66A6-6676D7E4CDB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931636" y="4938508"/>
                <a:ext cx="687790" cy="687790"/>
              </a:xfrm>
              <a:custGeom>
                <a:avLst/>
                <a:gdLst>
                  <a:gd name="connsiteX0" fmla="*/ 640276 w 640221"/>
                  <a:gd name="connsiteY0" fmla="*/ 638485 h 640221"/>
                  <a:gd name="connsiteX1" fmla="*/ 640276 w 640221"/>
                  <a:gd name="connsiteY1" fmla="*/ 640276 h 640221"/>
                  <a:gd name="connsiteX2" fmla="*/ 638485 w 640221"/>
                  <a:gd name="connsiteY2" fmla="*/ 640276 h 640221"/>
                  <a:gd name="connsiteX3" fmla="*/ 0 w 640221"/>
                  <a:gd name="connsiteY3" fmla="*/ 49265 h 640221"/>
                  <a:gd name="connsiteX4" fmla="*/ 1845 w 640221"/>
                  <a:gd name="connsiteY4" fmla="*/ 1845 h 640221"/>
                  <a:gd name="connsiteX5" fmla="*/ 49265 w 640221"/>
                  <a:gd name="connsiteY5" fmla="*/ 0 h 640221"/>
                  <a:gd name="connsiteX6" fmla="*/ 640276 w 640221"/>
                  <a:gd name="connsiteY6" fmla="*/ 638485 h 640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40221" h="640221">
                    <a:moveTo>
                      <a:pt x="640276" y="638485"/>
                    </a:moveTo>
                    <a:lnTo>
                      <a:pt x="640276" y="640276"/>
                    </a:lnTo>
                    <a:lnTo>
                      <a:pt x="638485" y="640276"/>
                    </a:lnTo>
                    <a:cubicBezTo>
                      <a:pt x="301447" y="640276"/>
                      <a:pt x="25175" y="379901"/>
                      <a:pt x="0" y="49265"/>
                    </a:cubicBezTo>
                    <a:cubicBezTo>
                      <a:pt x="1194" y="33585"/>
                      <a:pt x="1790" y="17796"/>
                      <a:pt x="1845" y="1845"/>
                    </a:cubicBezTo>
                    <a:cubicBezTo>
                      <a:pt x="17796" y="1790"/>
                      <a:pt x="33585" y="1194"/>
                      <a:pt x="49265" y="0"/>
                    </a:cubicBezTo>
                    <a:cubicBezTo>
                      <a:pt x="379901" y="25175"/>
                      <a:pt x="640276" y="301447"/>
                      <a:pt x="640276" y="638485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3810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endParaRPr>
              </a:p>
            </p:txBody>
          </p:sp>
          <p:sp>
            <p:nvSpPr>
              <p:cNvPr id="75" name="Freihandform: Form 81">
                <a:extLst>
                  <a:ext uri="{FF2B5EF4-FFF2-40B4-BE49-F238E27FC236}">
                    <a16:creationId xmlns:a16="http://schemas.microsoft.com/office/drawing/2014/main" id="{108AF0FF-9DD6-CBB1-4C9E-EEBF18DBD2C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43788" y="4938508"/>
                <a:ext cx="687790" cy="687790"/>
              </a:xfrm>
              <a:custGeom>
                <a:avLst/>
                <a:gdLst>
                  <a:gd name="connsiteX0" fmla="*/ 640276 w 640221"/>
                  <a:gd name="connsiteY0" fmla="*/ 49265 h 640221"/>
                  <a:gd name="connsiteX1" fmla="*/ 1790 w 640221"/>
                  <a:gd name="connsiteY1" fmla="*/ 640276 h 640221"/>
                  <a:gd name="connsiteX2" fmla="*/ 0 w 640221"/>
                  <a:gd name="connsiteY2" fmla="*/ 640276 h 640221"/>
                  <a:gd name="connsiteX3" fmla="*/ 0 w 640221"/>
                  <a:gd name="connsiteY3" fmla="*/ 638485 h 640221"/>
                  <a:gd name="connsiteX4" fmla="*/ 591011 w 640221"/>
                  <a:gd name="connsiteY4" fmla="*/ 0 h 640221"/>
                  <a:gd name="connsiteX5" fmla="*/ 638431 w 640221"/>
                  <a:gd name="connsiteY5" fmla="*/ 1845 h 640221"/>
                  <a:gd name="connsiteX6" fmla="*/ 640276 w 640221"/>
                  <a:gd name="connsiteY6" fmla="*/ 49265 h 640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40221" h="640221">
                    <a:moveTo>
                      <a:pt x="640276" y="49265"/>
                    </a:moveTo>
                    <a:cubicBezTo>
                      <a:pt x="615101" y="379901"/>
                      <a:pt x="338829" y="640276"/>
                      <a:pt x="1790" y="640276"/>
                    </a:cubicBezTo>
                    <a:lnTo>
                      <a:pt x="0" y="640276"/>
                    </a:lnTo>
                    <a:lnTo>
                      <a:pt x="0" y="638485"/>
                    </a:lnTo>
                    <a:cubicBezTo>
                      <a:pt x="0" y="301447"/>
                      <a:pt x="260375" y="25175"/>
                      <a:pt x="591011" y="0"/>
                    </a:cubicBezTo>
                    <a:cubicBezTo>
                      <a:pt x="606691" y="1194"/>
                      <a:pt x="622480" y="1790"/>
                      <a:pt x="638431" y="1845"/>
                    </a:cubicBezTo>
                    <a:cubicBezTo>
                      <a:pt x="638485" y="17796"/>
                      <a:pt x="639082" y="33585"/>
                      <a:pt x="640276" y="49265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3810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endParaRPr>
              </a:p>
            </p:txBody>
          </p:sp>
          <p:sp>
            <p:nvSpPr>
              <p:cNvPr id="76" name="Freihandform: Form 82">
                <a:extLst>
                  <a:ext uri="{FF2B5EF4-FFF2-40B4-BE49-F238E27FC236}">
                    <a16:creationId xmlns:a16="http://schemas.microsoft.com/office/drawing/2014/main" id="{BD3BF26D-D885-A589-6F9E-51CAA1FE2C7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557864" y="4250660"/>
                <a:ext cx="1317292" cy="1375579"/>
              </a:xfrm>
              <a:custGeom>
                <a:avLst/>
                <a:gdLst>
                  <a:gd name="connsiteX0" fmla="*/ 1229497 w 1226187"/>
                  <a:gd name="connsiteY0" fmla="*/ 640276 h 1280443"/>
                  <a:gd name="connsiteX1" fmla="*/ 638485 w 1226187"/>
                  <a:gd name="connsiteY1" fmla="*/ 1278761 h 1280443"/>
                  <a:gd name="connsiteX2" fmla="*/ 638485 w 1226187"/>
                  <a:gd name="connsiteY2" fmla="*/ 1280552 h 1280443"/>
                  <a:gd name="connsiteX3" fmla="*/ 0 w 1226187"/>
                  <a:gd name="connsiteY3" fmla="*/ 640276 h 1280443"/>
                  <a:gd name="connsiteX4" fmla="*/ 638485 w 1226187"/>
                  <a:gd name="connsiteY4" fmla="*/ 0 h 1280443"/>
                  <a:gd name="connsiteX5" fmla="*/ 638485 w 1226187"/>
                  <a:gd name="connsiteY5" fmla="*/ 1790 h 1280443"/>
                  <a:gd name="connsiteX6" fmla="*/ 1229497 w 1226187"/>
                  <a:gd name="connsiteY6" fmla="*/ 640276 h 12804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26187" h="1280443">
                    <a:moveTo>
                      <a:pt x="1229497" y="640276"/>
                    </a:moveTo>
                    <a:cubicBezTo>
                      <a:pt x="898860" y="665451"/>
                      <a:pt x="638485" y="941723"/>
                      <a:pt x="638485" y="1278761"/>
                    </a:cubicBezTo>
                    <a:lnTo>
                      <a:pt x="638485" y="1280552"/>
                    </a:lnTo>
                    <a:cubicBezTo>
                      <a:pt x="285712" y="1279575"/>
                      <a:pt x="0" y="993320"/>
                      <a:pt x="0" y="640276"/>
                    </a:cubicBezTo>
                    <a:cubicBezTo>
                      <a:pt x="0" y="287232"/>
                      <a:pt x="285712" y="977"/>
                      <a:pt x="638485" y="0"/>
                    </a:cubicBezTo>
                    <a:lnTo>
                      <a:pt x="638485" y="1790"/>
                    </a:lnTo>
                    <a:cubicBezTo>
                      <a:pt x="638485" y="338829"/>
                      <a:pt x="898860" y="615101"/>
                      <a:pt x="1229497" y="640276"/>
                    </a:cubicBezTo>
                    <a:close/>
                  </a:path>
                </a:pathLst>
              </a:custGeom>
              <a:solidFill>
                <a:schemeClr val="bg2"/>
              </a:solidFill>
              <a:ln w="3810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endParaRPr>
              </a:p>
            </p:txBody>
          </p:sp>
          <p:sp>
            <p:nvSpPr>
              <p:cNvPr id="77" name="Freihandform: Form 83">
                <a:extLst>
                  <a:ext uri="{FF2B5EF4-FFF2-40B4-BE49-F238E27FC236}">
                    <a16:creationId xmlns:a16="http://schemas.microsoft.com/office/drawing/2014/main" id="{FABFA169-E788-0485-37CB-98F3F251B3B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43788" y="4250660"/>
                <a:ext cx="687790" cy="687790"/>
              </a:xfrm>
              <a:custGeom>
                <a:avLst/>
                <a:gdLst>
                  <a:gd name="connsiteX0" fmla="*/ 640276 w 640221"/>
                  <a:gd name="connsiteY0" fmla="*/ 591011 h 640221"/>
                  <a:gd name="connsiteX1" fmla="*/ 638431 w 640221"/>
                  <a:gd name="connsiteY1" fmla="*/ 638431 h 640221"/>
                  <a:gd name="connsiteX2" fmla="*/ 591011 w 640221"/>
                  <a:gd name="connsiteY2" fmla="*/ 640276 h 640221"/>
                  <a:gd name="connsiteX3" fmla="*/ 0 w 640221"/>
                  <a:gd name="connsiteY3" fmla="*/ 1790 h 640221"/>
                  <a:gd name="connsiteX4" fmla="*/ 0 w 640221"/>
                  <a:gd name="connsiteY4" fmla="*/ 0 h 640221"/>
                  <a:gd name="connsiteX5" fmla="*/ 1790 w 640221"/>
                  <a:gd name="connsiteY5" fmla="*/ 0 h 640221"/>
                  <a:gd name="connsiteX6" fmla="*/ 640276 w 640221"/>
                  <a:gd name="connsiteY6" fmla="*/ 591011 h 640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40221" h="640221">
                    <a:moveTo>
                      <a:pt x="640276" y="591011"/>
                    </a:moveTo>
                    <a:cubicBezTo>
                      <a:pt x="639082" y="606691"/>
                      <a:pt x="638485" y="622480"/>
                      <a:pt x="638431" y="638431"/>
                    </a:cubicBezTo>
                    <a:cubicBezTo>
                      <a:pt x="622480" y="638485"/>
                      <a:pt x="606691" y="639082"/>
                      <a:pt x="591011" y="640276"/>
                    </a:cubicBezTo>
                    <a:cubicBezTo>
                      <a:pt x="260375" y="615101"/>
                      <a:pt x="0" y="338829"/>
                      <a:pt x="0" y="1790"/>
                    </a:cubicBezTo>
                    <a:lnTo>
                      <a:pt x="0" y="0"/>
                    </a:lnTo>
                    <a:lnTo>
                      <a:pt x="1790" y="0"/>
                    </a:lnTo>
                    <a:cubicBezTo>
                      <a:pt x="338829" y="0"/>
                      <a:pt x="615101" y="260375"/>
                      <a:pt x="640276" y="591011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3810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endParaRPr>
              </a:p>
            </p:txBody>
          </p:sp>
        </p:grpSp>
        <p:sp>
          <p:nvSpPr>
            <p:cNvPr id="64" name="Textfeld 97">
              <a:extLst>
                <a:ext uri="{FF2B5EF4-FFF2-40B4-BE49-F238E27FC236}">
                  <a16:creationId xmlns:a16="http://schemas.microsoft.com/office/drawing/2014/main" id="{9499D1C3-ED35-F0C7-C96A-2205235CE96E}"/>
                </a:ext>
              </a:extLst>
            </p:cNvPr>
            <p:cNvSpPr txBox="1">
              <a:spLocks/>
            </p:cNvSpPr>
            <p:nvPr/>
          </p:nvSpPr>
          <p:spPr>
            <a:xfrm>
              <a:off x="9951711" y="1740905"/>
              <a:ext cx="732289" cy="163825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none" lIns="0" tIns="0" rIns="0" bIns="0" rtlCol="0" anchor="ctr">
              <a:spAutoFit/>
            </a:bodyPr>
            <a:lstStyle/>
            <a:p>
              <a:pPr lvl="0" algn="ctr">
                <a:lnSpc>
                  <a:spcPct val="95000"/>
                </a:lnSpc>
                <a:spcBef>
                  <a:spcPts val="400"/>
                </a:spcBef>
                <a:buClr>
                  <a:srgbClr val="1A7449"/>
                </a:buClr>
                <a:buSzPct val="80000"/>
                <a:defRPr/>
              </a:pPr>
              <a:r>
                <a:rPr lang="en-US" altLang="zh-CN" sz="1300" dirty="0">
                  <a:solidFill>
                    <a:srgbClr val="575757"/>
                  </a:solidFill>
                  <a:ea typeface="Verdana" pitchFamily="34" charset="0"/>
                  <a:cs typeface="Verdana" pitchFamily="34" charset="0"/>
                </a:rPr>
                <a:t>{bulklet_8}</a:t>
              </a:r>
            </a:p>
          </p:txBody>
        </p:sp>
        <p:sp>
          <p:nvSpPr>
            <p:cNvPr id="65" name="Textfeld 98">
              <a:extLst>
                <a:ext uri="{FF2B5EF4-FFF2-40B4-BE49-F238E27FC236}">
                  <a16:creationId xmlns:a16="http://schemas.microsoft.com/office/drawing/2014/main" id="{1CCE2D5D-7197-57D7-19C3-4988ACAF8571}"/>
                </a:ext>
              </a:extLst>
            </p:cNvPr>
            <p:cNvSpPr txBox="1">
              <a:spLocks/>
            </p:cNvSpPr>
            <p:nvPr/>
          </p:nvSpPr>
          <p:spPr>
            <a:xfrm>
              <a:off x="9937286" y="3535299"/>
              <a:ext cx="761141" cy="163825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none" lIns="0" tIns="0" rIns="0" bIns="0" rtlCol="0" anchor="ctr">
              <a:spAutoFit/>
            </a:bodyPr>
            <a:lstStyle/>
            <a:p>
              <a:pPr lvl="0" algn="ctr">
                <a:lnSpc>
                  <a:spcPct val="95000"/>
                </a:lnSpc>
                <a:spcBef>
                  <a:spcPts val="400"/>
                </a:spcBef>
                <a:buClr>
                  <a:srgbClr val="1A7449"/>
                </a:buClr>
                <a:buSzPct val="80000"/>
                <a:defRPr/>
              </a:pPr>
              <a:r>
                <a:rPr lang="en-US" altLang="zh-CN" sz="1300" dirty="0">
                  <a:solidFill>
                    <a:srgbClr val="575757"/>
                  </a:solidFill>
                  <a:ea typeface="Verdana" pitchFamily="34" charset="0"/>
                  <a:cs typeface="Verdana" pitchFamily="34" charset="0"/>
                </a:rPr>
                <a:t>{bulklet_11}</a:t>
              </a:r>
            </a:p>
          </p:txBody>
        </p:sp>
        <p:sp>
          <p:nvSpPr>
            <p:cNvPr id="66" name="Textfeld 99">
              <a:extLst>
                <a:ext uri="{FF2B5EF4-FFF2-40B4-BE49-F238E27FC236}">
                  <a16:creationId xmlns:a16="http://schemas.microsoft.com/office/drawing/2014/main" id="{3632585D-4197-4E36-D3B9-F20F700A7CA2}"/>
                </a:ext>
              </a:extLst>
            </p:cNvPr>
            <p:cNvSpPr txBox="1">
              <a:spLocks/>
            </p:cNvSpPr>
            <p:nvPr/>
          </p:nvSpPr>
          <p:spPr>
            <a:xfrm>
              <a:off x="10784026" y="2639821"/>
              <a:ext cx="794115" cy="163825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none" lIns="0" tIns="0" rIns="0" bIns="0" rtlCol="0" anchor="ctr">
              <a:spAutoFit/>
            </a:bodyPr>
            <a:lstStyle/>
            <a:p>
              <a:pPr lvl="0" algn="ctr">
                <a:lnSpc>
                  <a:spcPct val="95000"/>
                </a:lnSpc>
                <a:spcBef>
                  <a:spcPts val="400"/>
                </a:spcBef>
                <a:buClr>
                  <a:srgbClr val="1A7449"/>
                </a:buClr>
                <a:buSzPct val="80000"/>
                <a:defRPr/>
              </a:pPr>
              <a:r>
                <a:rPr lang="en-US" altLang="zh-CN" sz="1300" dirty="0">
                  <a:solidFill>
                    <a:srgbClr val="575757"/>
                  </a:solidFill>
                  <a:ea typeface="Verdana" pitchFamily="34" charset="0"/>
                  <a:cs typeface="Verdana" pitchFamily="34" charset="0"/>
                </a:rPr>
                <a:t>{bulklet_10}</a:t>
              </a:r>
            </a:p>
          </p:txBody>
        </p:sp>
        <p:sp>
          <p:nvSpPr>
            <p:cNvPr id="67" name="Textfeld 100">
              <a:extLst>
                <a:ext uri="{FF2B5EF4-FFF2-40B4-BE49-F238E27FC236}">
                  <a16:creationId xmlns:a16="http://schemas.microsoft.com/office/drawing/2014/main" id="{7CD8C798-8AB5-FE9E-9BD5-546D49BAAE48}"/>
                </a:ext>
              </a:extLst>
            </p:cNvPr>
            <p:cNvSpPr txBox="1">
              <a:spLocks/>
            </p:cNvSpPr>
            <p:nvPr/>
          </p:nvSpPr>
          <p:spPr>
            <a:xfrm>
              <a:off x="9086420" y="2639821"/>
              <a:ext cx="729541" cy="163825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none" lIns="0" tIns="0" rIns="0" bIns="0" rtlCol="0" anchor="ctr">
              <a:spAutoFit/>
            </a:bodyPr>
            <a:lstStyle/>
            <a:p>
              <a:pPr lvl="0" algn="ctr">
                <a:lnSpc>
                  <a:spcPct val="95000"/>
                </a:lnSpc>
                <a:spcBef>
                  <a:spcPts val="400"/>
                </a:spcBef>
                <a:buClr>
                  <a:srgbClr val="1A7449"/>
                </a:buClr>
                <a:buSzPct val="80000"/>
                <a:defRPr/>
              </a:pPr>
              <a:r>
                <a:rPr lang="en-US" altLang="zh-CN" sz="1300" dirty="0">
                  <a:solidFill>
                    <a:srgbClr val="575757"/>
                  </a:solidFill>
                  <a:ea typeface="Verdana" pitchFamily="34" charset="0"/>
                  <a:cs typeface="Verdana" pitchFamily="34" charset="0"/>
                </a:rPr>
                <a:t>{bulklet_9}</a:t>
              </a:r>
            </a:p>
          </p:txBody>
        </p:sp>
      </p:grpSp>
      <p:sp>
        <p:nvSpPr>
          <p:cNvPr id="78" name="Text Placeholder 15">
            <a:extLst>
              <a:ext uri="{FF2B5EF4-FFF2-40B4-BE49-F238E27FC236}">
                <a16:creationId xmlns:a16="http://schemas.microsoft.com/office/drawing/2014/main" id="{8309F569-CA62-A955-F298-A4C47ED5142B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1093248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diagram</a:t>
            </a:r>
          </a:p>
        </p:txBody>
      </p:sp>
    </p:spTree>
    <p:extLst>
      <p:ext uri="{BB962C8B-B14F-4D97-AF65-F5344CB8AC3E}">
        <p14:creationId xmlns:p14="http://schemas.microsoft.com/office/powerpoint/2010/main" val="1331352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</TotalTime>
  <Words>101</Words>
  <Application>Microsoft Office PowerPoint</Application>
  <PresentationFormat>宽屏</PresentationFormat>
  <Paragraphs>21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LiciumFont 2022 Bold</vt:lpstr>
      <vt:lpstr>等线</vt:lpstr>
      <vt:lpstr>理想品牌字体 2022</vt:lpstr>
      <vt:lpstr>Arial</vt:lpstr>
      <vt:lpstr>Calibri</vt:lpstr>
      <vt:lpstr>Trebuchet MS</vt:lpstr>
      <vt:lpstr>Verdana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4T02:48:41Z</dcterms:created>
  <dcterms:modified xsi:type="dcterms:W3CDTF">2025-09-04T02:53:10Z</dcterms:modified>
</cp:coreProperties>
</file>